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38D785-9F37-E5EB-5820-66DB2855A6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A398427-0847-A3EC-D65D-A0161EE738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398427-0847-A3EC-D65D-A0161EE738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3A4435-2986-AFA2-A2A3-1757005B2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A23A35E-7847-F14D-684F-B795932B803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Shape1_20220427_135811">
            <a:extLst>
              <a:ext uri="{FF2B5EF4-FFF2-40B4-BE49-F238E27FC236}">
                <a16:creationId xmlns:a16="http://schemas.microsoft.com/office/drawing/2014/main" id="{E7F58F31-A5E0-103C-9876-A73AD37C16FA}"/>
              </a:ext>
            </a:extLst>
          </p:cNvPr>
          <p:cNvSpPr txBox="1">
            <a:spLocks/>
          </p:cNvSpPr>
          <p:nvPr/>
        </p:nvSpPr>
        <p:spPr>
          <a:xfrm>
            <a:off x="6276489" y="4010675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7" name="Shape2_20220427_135811">
            <a:extLst>
              <a:ext uri="{FF2B5EF4-FFF2-40B4-BE49-F238E27FC236}">
                <a16:creationId xmlns:a16="http://schemas.microsoft.com/office/drawing/2014/main" id="{AABC44EB-E0AD-7C03-1486-7A1759C74DD2}"/>
              </a:ext>
            </a:extLst>
          </p:cNvPr>
          <p:cNvSpPr txBox="1">
            <a:spLocks/>
          </p:cNvSpPr>
          <p:nvPr/>
        </p:nvSpPr>
        <p:spPr>
          <a:xfrm>
            <a:off x="6276489" y="424059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" name="Shape1_20221012_144847">
            <a:extLst>
              <a:ext uri="{FF2B5EF4-FFF2-40B4-BE49-F238E27FC236}">
                <a16:creationId xmlns:a16="http://schemas.microsoft.com/office/drawing/2014/main" id="{BB72C708-6F43-6ED6-33B7-070E6A61F342}"/>
              </a:ext>
            </a:extLst>
          </p:cNvPr>
          <p:cNvSpPr/>
          <p:nvPr/>
        </p:nvSpPr>
        <p:spPr>
          <a:xfrm>
            <a:off x="5168003" y="3789394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9" name="Shape3_20220427_135811">
            <a:extLst>
              <a:ext uri="{FF2B5EF4-FFF2-40B4-BE49-F238E27FC236}">
                <a16:creationId xmlns:a16="http://schemas.microsoft.com/office/drawing/2014/main" id="{6FD1FA43-6DD2-48E6-96E1-2ADFB5A64E77}"/>
              </a:ext>
            </a:extLst>
          </p:cNvPr>
          <p:cNvSpPr txBox="1">
            <a:spLocks/>
          </p:cNvSpPr>
          <p:nvPr/>
        </p:nvSpPr>
        <p:spPr>
          <a:xfrm>
            <a:off x="9936937" y="4010675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10" name="Shape4_20220427_135811">
            <a:extLst>
              <a:ext uri="{FF2B5EF4-FFF2-40B4-BE49-F238E27FC236}">
                <a16:creationId xmlns:a16="http://schemas.microsoft.com/office/drawing/2014/main" id="{CA0A3597-4220-C352-C523-A8AD49637CB5}"/>
              </a:ext>
            </a:extLst>
          </p:cNvPr>
          <p:cNvSpPr txBox="1">
            <a:spLocks/>
          </p:cNvSpPr>
          <p:nvPr/>
        </p:nvSpPr>
        <p:spPr>
          <a:xfrm>
            <a:off x="9936937" y="424059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1" name="Shape2_20221012_144847">
            <a:extLst>
              <a:ext uri="{FF2B5EF4-FFF2-40B4-BE49-F238E27FC236}">
                <a16:creationId xmlns:a16="http://schemas.microsoft.com/office/drawing/2014/main" id="{F115F3BF-966A-45E8-E27D-B32FF083EBC7}"/>
              </a:ext>
            </a:extLst>
          </p:cNvPr>
          <p:cNvSpPr/>
          <p:nvPr/>
        </p:nvSpPr>
        <p:spPr>
          <a:xfrm>
            <a:off x="8828446" y="3789394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12" name="Freeform 380">
            <a:extLst>
              <a:ext uri="{FF2B5EF4-FFF2-40B4-BE49-F238E27FC236}">
                <a16:creationId xmlns:a16="http://schemas.microsoft.com/office/drawing/2014/main" id="{51C3F7FE-CE6A-E300-E968-EB233C881EB9}"/>
              </a:ext>
            </a:extLst>
          </p:cNvPr>
          <p:cNvSpPr>
            <a:spLocks noEditPoints="1"/>
          </p:cNvSpPr>
          <p:nvPr/>
        </p:nvSpPr>
        <p:spPr bwMode="auto">
          <a:xfrm>
            <a:off x="5358642" y="3977659"/>
            <a:ext cx="370244" cy="374992"/>
          </a:xfrm>
          <a:custGeom>
            <a:avLst/>
            <a:gdLst>
              <a:gd name="T0" fmla="*/ 142 w 285"/>
              <a:gd name="T1" fmla="*/ 285 h 285"/>
              <a:gd name="T2" fmla="*/ 0 w 285"/>
              <a:gd name="T3" fmla="*/ 143 h 285"/>
              <a:gd name="T4" fmla="*/ 142 w 285"/>
              <a:gd name="T5" fmla="*/ 0 h 285"/>
              <a:gd name="T6" fmla="*/ 285 w 285"/>
              <a:gd name="T7" fmla="*/ 143 h 285"/>
              <a:gd name="T8" fmla="*/ 142 w 285"/>
              <a:gd name="T9" fmla="*/ 285 h 285"/>
              <a:gd name="T10" fmla="*/ 142 w 285"/>
              <a:gd name="T11" fmla="*/ 12 h 285"/>
              <a:gd name="T12" fmla="*/ 12 w 285"/>
              <a:gd name="T13" fmla="*/ 143 h 285"/>
              <a:gd name="T14" fmla="*/ 142 w 285"/>
              <a:gd name="T15" fmla="*/ 273 h 285"/>
              <a:gd name="T16" fmla="*/ 273 w 285"/>
              <a:gd name="T17" fmla="*/ 143 h 285"/>
              <a:gd name="T18" fmla="*/ 142 w 285"/>
              <a:gd name="T19" fmla="*/ 1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5" h="285">
                <a:moveTo>
                  <a:pt x="142" y="285"/>
                </a:moveTo>
                <a:cubicBezTo>
                  <a:pt x="64" y="285"/>
                  <a:pt x="0" y="221"/>
                  <a:pt x="0" y="143"/>
                </a:cubicBezTo>
                <a:cubicBezTo>
                  <a:pt x="0" y="64"/>
                  <a:pt x="64" y="0"/>
                  <a:pt x="142" y="0"/>
                </a:cubicBezTo>
                <a:cubicBezTo>
                  <a:pt x="221" y="0"/>
                  <a:pt x="285" y="64"/>
                  <a:pt x="285" y="143"/>
                </a:cubicBezTo>
                <a:cubicBezTo>
                  <a:pt x="285" y="221"/>
                  <a:pt x="221" y="285"/>
                  <a:pt x="142" y="285"/>
                </a:cubicBezTo>
                <a:close/>
                <a:moveTo>
                  <a:pt x="142" y="12"/>
                </a:moveTo>
                <a:cubicBezTo>
                  <a:pt x="70" y="12"/>
                  <a:pt x="12" y="71"/>
                  <a:pt x="12" y="143"/>
                </a:cubicBezTo>
                <a:cubicBezTo>
                  <a:pt x="12" y="214"/>
                  <a:pt x="70" y="273"/>
                  <a:pt x="142" y="273"/>
                </a:cubicBezTo>
                <a:cubicBezTo>
                  <a:pt x="214" y="273"/>
                  <a:pt x="273" y="214"/>
                  <a:pt x="273" y="143"/>
                </a:cubicBezTo>
                <a:cubicBezTo>
                  <a:pt x="273" y="71"/>
                  <a:pt x="214" y="12"/>
                  <a:pt x="142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3" name="Freeform 381">
            <a:extLst>
              <a:ext uri="{FF2B5EF4-FFF2-40B4-BE49-F238E27FC236}">
                <a16:creationId xmlns:a16="http://schemas.microsoft.com/office/drawing/2014/main" id="{E8901291-AA24-5992-9FEA-63253DA6A7F4}"/>
              </a:ext>
            </a:extLst>
          </p:cNvPr>
          <p:cNvSpPr>
            <a:spLocks noEditPoints="1"/>
          </p:cNvSpPr>
          <p:nvPr/>
        </p:nvSpPr>
        <p:spPr bwMode="auto">
          <a:xfrm>
            <a:off x="5643444" y="4262459"/>
            <a:ext cx="189869" cy="194618"/>
          </a:xfrm>
          <a:custGeom>
            <a:avLst/>
            <a:gdLst>
              <a:gd name="T0" fmla="*/ 119 w 145"/>
              <a:gd name="T1" fmla="*/ 146 h 146"/>
              <a:gd name="T2" fmla="*/ 100 w 145"/>
              <a:gd name="T3" fmla="*/ 138 h 146"/>
              <a:gd name="T4" fmla="*/ 2 w 145"/>
              <a:gd name="T5" fmla="*/ 40 h 146"/>
              <a:gd name="T6" fmla="*/ 2 w 145"/>
              <a:gd name="T7" fmla="*/ 32 h 146"/>
              <a:gd name="T8" fmla="*/ 31 w 145"/>
              <a:gd name="T9" fmla="*/ 3 h 146"/>
              <a:gd name="T10" fmla="*/ 40 w 145"/>
              <a:gd name="T11" fmla="*/ 3 h 146"/>
              <a:gd name="T12" fmla="*/ 138 w 145"/>
              <a:gd name="T13" fmla="*/ 100 h 146"/>
              <a:gd name="T14" fmla="*/ 145 w 145"/>
              <a:gd name="T15" fmla="*/ 119 h 146"/>
              <a:gd name="T16" fmla="*/ 138 w 145"/>
              <a:gd name="T17" fmla="*/ 138 h 146"/>
              <a:gd name="T18" fmla="*/ 119 w 145"/>
              <a:gd name="T19" fmla="*/ 146 h 146"/>
              <a:gd name="T20" fmla="*/ 15 w 145"/>
              <a:gd name="T21" fmla="*/ 36 h 146"/>
              <a:gd name="T22" fmla="*/ 109 w 145"/>
              <a:gd name="T23" fmla="*/ 129 h 146"/>
              <a:gd name="T24" fmla="*/ 109 w 145"/>
              <a:gd name="T25" fmla="*/ 129 h 146"/>
              <a:gd name="T26" fmla="*/ 129 w 145"/>
              <a:gd name="T27" fmla="*/ 129 h 146"/>
              <a:gd name="T28" fmla="*/ 133 w 145"/>
              <a:gd name="T29" fmla="*/ 119 h 146"/>
              <a:gd name="T30" fmla="*/ 129 w 145"/>
              <a:gd name="T31" fmla="*/ 109 h 146"/>
              <a:gd name="T32" fmla="*/ 36 w 145"/>
              <a:gd name="T33" fmla="*/ 16 h 146"/>
              <a:gd name="T34" fmla="*/ 15 w 145"/>
              <a:gd name="T35" fmla="*/ 3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45" h="146">
                <a:moveTo>
                  <a:pt x="119" y="146"/>
                </a:moveTo>
                <a:cubicBezTo>
                  <a:pt x="112" y="146"/>
                  <a:pt x="105" y="143"/>
                  <a:pt x="100" y="138"/>
                </a:cubicBezTo>
                <a:cubicBezTo>
                  <a:pt x="2" y="40"/>
                  <a:pt x="2" y="40"/>
                  <a:pt x="2" y="40"/>
                </a:cubicBezTo>
                <a:cubicBezTo>
                  <a:pt x="0" y="38"/>
                  <a:pt x="0" y="34"/>
                  <a:pt x="2" y="32"/>
                </a:cubicBezTo>
                <a:cubicBezTo>
                  <a:pt x="31" y="3"/>
                  <a:pt x="31" y="3"/>
                  <a:pt x="31" y="3"/>
                </a:cubicBezTo>
                <a:cubicBezTo>
                  <a:pt x="34" y="0"/>
                  <a:pt x="38" y="0"/>
                  <a:pt x="40" y="3"/>
                </a:cubicBezTo>
                <a:cubicBezTo>
                  <a:pt x="138" y="100"/>
                  <a:pt x="138" y="100"/>
                  <a:pt x="138" y="100"/>
                </a:cubicBezTo>
                <a:cubicBezTo>
                  <a:pt x="143" y="105"/>
                  <a:pt x="145" y="112"/>
                  <a:pt x="145" y="119"/>
                </a:cubicBezTo>
                <a:cubicBezTo>
                  <a:pt x="145" y="126"/>
                  <a:pt x="143" y="133"/>
                  <a:pt x="138" y="138"/>
                </a:cubicBezTo>
                <a:cubicBezTo>
                  <a:pt x="132" y="143"/>
                  <a:pt x="126" y="146"/>
                  <a:pt x="119" y="146"/>
                </a:cubicBezTo>
                <a:close/>
                <a:moveTo>
                  <a:pt x="15" y="36"/>
                </a:moveTo>
                <a:cubicBezTo>
                  <a:pt x="109" y="129"/>
                  <a:pt x="109" y="129"/>
                  <a:pt x="109" y="129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14" y="135"/>
                  <a:pt x="123" y="135"/>
                  <a:pt x="129" y="129"/>
                </a:cubicBezTo>
                <a:cubicBezTo>
                  <a:pt x="132" y="126"/>
                  <a:pt x="133" y="123"/>
                  <a:pt x="133" y="119"/>
                </a:cubicBezTo>
                <a:cubicBezTo>
                  <a:pt x="133" y="115"/>
                  <a:pt x="132" y="112"/>
                  <a:pt x="129" y="109"/>
                </a:cubicBezTo>
                <a:cubicBezTo>
                  <a:pt x="36" y="16"/>
                  <a:pt x="36" y="16"/>
                  <a:pt x="36" y="16"/>
                </a:cubicBezTo>
                <a:lnTo>
                  <a:pt x="15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4" name="Freeform 382">
            <a:extLst>
              <a:ext uri="{FF2B5EF4-FFF2-40B4-BE49-F238E27FC236}">
                <a16:creationId xmlns:a16="http://schemas.microsoft.com/office/drawing/2014/main" id="{A3710D74-C09C-12FD-FD7D-DDFEDE849D16}"/>
              </a:ext>
            </a:extLst>
          </p:cNvPr>
          <p:cNvSpPr>
            <a:spLocks/>
          </p:cNvSpPr>
          <p:nvPr/>
        </p:nvSpPr>
        <p:spPr bwMode="auto">
          <a:xfrm>
            <a:off x="5420350" y="4039366"/>
            <a:ext cx="132907" cy="132907"/>
          </a:xfrm>
          <a:custGeom>
            <a:avLst/>
            <a:gdLst>
              <a:gd name="T0" fmla="*/ 6 w 99"/>
              <a:gd name="T1" fmla="*/ 100 h 100"/>
              <a:gd name="T2" fmla="*/ 0 w 99"/>
              <a:gd name="T3" fmla="*/ 94 h 100"/>
              <a:gd name="T4" fmla="*/ 93 w 99"/>
              <a:gd name="T5" fmla="*/ 0 h 100"/>
              <a:gd name="T6" fmla="*/ 99 w 99"/>
              <a:gd name="T7" fmla="*/ 6 h 100"/>
              <a:gd name="T8" fmla="*/ 93 w 99"/>
              <a:gd name="T9" fmla="*/ 12 h 100"/>
              <a:gd name="T10" fmla="*/ 12 w 99"/>
              <a:gd name="T11" fmla="*/ 94 h 100"/>
              <a:gd name="T12" fmla="*/ 6 w 99"/>
              <a:gd name="T13" fmla="*/ 10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100">
                <a:moveTo>
                  <a:pt x="6" y="100"/>
                </a:moveTo>
                <a:cubicBezTo>
                  <a:pt x="3" y="100"/>
                  <a:pt x="0" y="97"/>
                  <a:pt x="0" y="94"/>
                </a:cubicBezTo>
                <a:cubicBezTo>
                  <a:pt x="0" y="42"/>
                  <a:pt x="42" y="0"/>
                  <a:pt x="93" y="0"/>
                </a:cubicBezTo>
                <a:cubicBezTo>
                  <a:pt x="97" y="0"/>
                  <a:pt x="99" y="3"/>
                  <a:pt x="99" y="6"/>
                </a:cubicBezTo>
                <a:cubicBezTo>
                  <a:pt x="99" y="10"/>
                  <a:pt x="97" y="12"/>
                  <a:pt x="93" y="12"/>
                </a:cubicBezTo>
                <a:cubicBezTo>
                  <a:pt x="48" y="12"/>
                  <a:pt x="12" y="49"/>
                  <a:pt x="12" y="94"/>
                </a:cubicBezTo>
                <a:cubicBezTo>
                  <a:pt x="12" y="97"/>
                  <a:pt x="9" y="100"/>
                  <a:pt x="6" y="10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5" name="Freeform 156">
            <a:extLst>
              <a:ext uri="{FF2B5EF4-FFF2-40B4-BE49-F238E27FC236}">
                <a16:creationId xmlns:a16="http://schemas.microsoft.com/office/drawing/2014/main" id="{7BAE3415-CE64-0DC5-CDE0-58EFF9662FD3}"/>
              </a:ext>
            </a:extLst>
          </p:cNvPr>
          <p:cNvSpPr>
            <a:spLocks noEditPoints="1"/>
          </p:cNvSpPr>
          <p:nvPr/>
        </p:nvSpPr>
        <p:spPr bwMode="auto">
          <a:xfrm>
            <a:off x="9128811" y="4133002"/>
            <a:ext cx="255219" cy="189822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6" name="Freeform 157">
            <a:extLst>
              <a:ext uri="{FF2B5EF4-FFF2-40B4-BE49-F238E27FC236}">
                <a16:creationId xmlns:a16="http://schemas.microsoft.com/office/drawing/2014/main" id="{DF90AB1B-DF0C-39E8-D134-FD3114FEDB27}"/>
              </a:ext>
            </a:extLst>
          </p:cNvPr>
          <p:cNvSpPr>
            <a:spLocks noEditPoints="1"/>
          </p:cNvSpPr>
          <p:nvPr/>
        </p:nvSpPr>
        <p:spPr bwMode="auto">
          <a:xfrm>
            <a:off x="9001200" y="3964274"/>
            <a:ext cx="510438" cy="506186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17" name="Shape5_20220427_135811">
            <a:extLst>
              <a:ext uri="{FF2B5EF4-FFF2-40B4-BE49-F238E27FC236}">
                <a16:creationId xmlns:a16="http://schemas.microsoft.com/office/drawing/2014/main" id="{B8BF5284-2203-D3C6-FF69-DBF8BAE36844}"/>
              </a:ext>
            </a:extLst>
          </p:cNvPr>
          <p:cNvSpPr txBox="1">
            <a:spLocks/>
          </p:cNvSpPr>
          <p:nvPr/>
        </p:nvSpPr>
        <p:spPr>
          <a:xfrm>
            <a:off x="6276489" y="28412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18" name="Shape6_20220427_135811">
            <a:extLst>
              <a:ext uri="{FF2B5EF4-FFF2-40B4-BE49-F238E27FC236}">
                <a16:creationId xmlns:a16="http://schemas.microsoft.com/office/drawing/2014/main" id="{60E13F27-B455-0BA9-10BB-0E4DB0319C03}"/>
              </a:ext>
            </a:extLst>
          </p:cNvPr>
          <p:cNvSpPr txBox="1">
            <a:spLocks/>
          </p:cNvSpPr>
          <p:nvPr/>
        </p:nvSpPr>
        <p:spPr>
          <a:xfrm>
            <a:off x="6276489" y="307114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9" name="Shape3_20221012_144847">
            <a:extLst>
              <a:ext uri="{FF2B5EF4-FFF2-40B4-BE49-F238E27FC236}">
                <a16:creationId xmlns:a16="http://schemas.microsoft.com/office/drawing/2014/main" id="{9CE0A1A0-C025-33BA-BCF1-A217FDA9A0B0}"/>
              </a:ext>
            </a:extLst>
          </p:cNvPr>
          <p:cNvSpPr/>
          <p:nvPr/>
        </p:nvSpPr>
        <p:spPr>
          <a:xfrm>
            <a:off x="5168003" y="2619946"/>
            <a:ext cx="855949" cy="8559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20" name="Shape7_20220427_135811">
            <a:extLst>
              <a:ext uri="{FF2B5EF4-FFF2-40B4-BE49-F238E27FC236}">
                <a16:creationId xmlns:a16="http://schemas.microsoft.com/office/drawing/2014/main" id="{413C3A8B-89B2-1837-1F63-CC4E1677D8FB}"/>
              </a:ext>
            </a:extLst>
          </p:cNvPr>
          <p:cNvSpPr txBox="1">
            <a:spLocks/>
          </p:cNvSpPr>
          <p:nvPr/>
        </p:nvSpPr>
        <p:spPr>
          <a:xfrm>
            <a:off x="9936937" y="28412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21" name="Shape0_20220427_135811">
            <a:extLst>
              <a:ext uri="{FF2B5EF4-FFF2-40B4-BE49-F238E27FC236}">
                <a16:creationId xmlns:a16="http://schemas.microsoft.com/office/drawing/2014/main" id="{ED1FEC6F-6F94-591B-5C8B-409C16C7627C}"/>
              </a:ext>
            </a:extLst>
          </p:cNvPr>
          <p:cNvSpPr txBox="1">
            <a:spLocks/>
          </p:cNvSpPr>
          <p:nvPr/>
        </p:nvSpPr>
        <p:spPr>
          <a:xfrm>
            <a:off x="9936937" y="3071147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22" name="Shape4_20221012_144847">
            <a:extLst>
              <a:ext uri="{FF2B5EF4-FFF2-40B4-BE49-F238E27FC236}">
                <a16:creationId xmlns:a16="http://schemas.microsoft.com/office/drawing/2014/main" id="{A92F9083-5F7D-6229-EEC7-7EAE4B3D341D}"/>
              </a:ext>
            </a:extLst>
          </p:cNvPr>
          <p:cNvSpPr/>
          <p:nvPr/>
        </p:nvSpPr>
        <p:spPr>
          <a:xfrm>
            <a:off x="8828446" y="2619946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23" name="Freeform 1532">
            <a:extLst>
              <a:ext uri="{FF2B5EF4-FFF2-40B4-BE49-F238E27FC236}">
                <a16:creationId xmlns:a16="http://schemas.microsoft.com/office/drawing/2014/main" id="{4E6FBBE1-E859-8F3B-68C7-F10B346FA144}"/>
              </a:ext>
            </a:extLst>
          </p:cNvPr>
          <p:cNvSpPr>
            <a:spLocks noEditPoints="1"/>
          </p:cNvSpPr>
          <p:nvPr/>
        </p:nvSpPr>
        <p:spPr bwMode="auto">
          <a:xfrm>
            <a:off x="5691394" y="3141750"/>
            <a:ext cx="125778" cy="123682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4" name="Freeform 1533">
            <a:extLst>
              <a:ext uri="{FF2B5EF4-FFF2-40B4-BE49-F238E27FC236}">
                <a16:creationId xmlns:a16="http://schemas.microsoft.com/office/drawing/2014/main" id="{771C004E-70AB-FF83-EA67-512A9A4CA514}"/>
              </a:ext>
            </a:extLst>
          </p:cNvPr>
          <p:cNvSpPr>
            <a:spLocks/>
          </p:cNvSpPr>
          <p:nvPr/>
        </p:nvSpPr>
        <p:spPr bwMode="auto">
          <a:xfrm>
            <a:off x="5344423" y="2798425"/>
            <a:ext cx="140959" cy="138609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5" name="Freeform 1534">
            <a:extLst>
              <a:ext uri="{FF2B5EF4-FFF2-40B4-BE49-F238E27FC236}">
                <a16:creationId xmlns:a16="http://schemas.microsoft.com/office/drawing/2014/main" id="{6AE5FF4D-FCD4-5434-C3D1-23189A9FA069}"/>
              </a:ext>
            </a:extLst>
          </p:cNvPr>
          <p:cNvSpPr>
            <a:spLocks/>
          </p:cNvSpPr>
          <p:nvPr/>
        </p:nvSpPr>
        <p:spPr bwMode="auto">
          <a:xfrm>
            <a:off x="5340089" y="2873063"/>
            <a:ext cx="158307" cy="121550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6" name="Freeform 1535">
            <a:extLst>
              <a:ext uri="{FF2B5EF4-FFF2-40B4-BE49-F238E27FC236}">
                <a16:creationId xmlns:a16="http://schemas.microsoft.com/office/drawing/2014/main" id="{E72EE69F-7984-C580-63FF-F188EA3318A6}"/>
              </a:ext>
            </a:extLst>
          </p:cNvPr>
          <p:cNvSpPr>
            <a:spLocks/>
          </p:cNvSpPr>
          <p:nvPr/>
        </p:nvSpPr>
        <p:spPr bwMode="auto">
          <a:xfrm>
            <a:off x="5420326" y="2794161"/>
            <a:ext cx="130113" cy="155668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7" name="Freeform 1536">
            <a:extLst>
              <a:ext uri="{FF2B5EF4-FFF2-40B4-BE49-F238E27FC236}">
                <a16:creationId xmlns:a16="http://schemas.microsoft.com/office/drawing/2014/main" id="{9B148B12-D0ED-244D-AD52-BCE94FFC1992}"/>
              </a:ext>
            </a:extLst>
          </p:cNvPr>
          <p:cNvSpPr>
            <a:spLocks/>
          </p:cNvSpPr>
          <p:nvPr/>
        </p:nvSpPr>
        <p:spPr bwMode="auto">
          <a:xfrm>
            <a:off x="5483212" y="2969021"/>
            <a:ext cx="80239" cy="74636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28" name="Freeform 1537">
            <a:extLst>
              <a:ext uri="{FF2B5EF4-FFF2-40B4-BE49-F238E27FC236}">
                <a16:creationId xmlns:a16="http://schemas.microsoft.com/office/drawing/2014/main" id="{48A0E296-D90B-3499-FAD0-AC6AEAE29B94}"/>
              </a:ext>
            </a:extLst>
          </p:cNvPr>
          <p:cNvSpPr>
            <a:spLocks/>
          </p:cNvSpPr>
          <p:nvPr/>
        </p:nvSpPr>
        <p:spPr bwMode="auto">
          <a:xfrm>
            <a:off x="5602484" y="3086305"/>
            <a:ext cx="82406" cy="78901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1" name="Freeform 1538">
            <a:extLst>
              <a:ext uri="{FF2B5EF4-FFF2-40B4-BE49-F238E27FC236}">
                <a16:creationId xmlns:a16="http://schemas.microsoft.com/office/drawing/2014/main" id="{7FA2C422-050E-385E-D91A-5964A5CCC937}"/>
              </a:ext>
            </a:extLst>
          </p:cNvPr>
          <p:cNvSpPr>
            <a:spLocks/>
          </p:cNvSpPr>
          <p:nvPr/>
        </p:nvSpPr>
        <p:spPr bwMode="auto">
          <a:xfrm>
            <a:off x="5515743" y="2937035"/>
            <a:ext cx="201677" cy="198317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2" name="Freeform 1539">
            <a:extLst>
              <a:ext uri="{FF2B5EF4-FFF2-40B4-BE49-F238E27FC236}">
                <a16:creationId xmlns:a16="http://schemas.microsoft.com/office/drawing/2014/main" id="{AFF35DDC-C34E-5065-4CEE-4780379394AA}"/>
              </a:ext>
            </a:extLst>
          </p:cNvPr>
          <p:cNvSpPr>
            <a:spLocks/>
          </p:cNvSpPr>
          <p:nvPr/>
        </p:nvSpPr>
        <p:spPr bwMode="auto">
          <a:xfrm>
            <a:off x="5648022" y="3099102"/>
            <a:ext cx="203847" cy="202583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3" name="Freeform 1540">
            <a:extLst>
              <a:ext uri="{FF2B5EF4-FFF2-40B4-BE49-F238E27FC236}">
                <a16:creationId xmlns:a16="http://schemas.microsoft.com/office/drawing/2014/main" id="{D7CA6D42-E992-AB0E-ADB2-B26FB1F0E40B}"/>
              </a:ext>
            </a:extLst>
          </p:cNvPr>
          <p:cNvSpPr>
            <a:spLocks/>
          </p:cNvSpPr>
          <p:nvPr/>
        </p:nvSpPr>
        <p:spPr bwMode="auto">
          <a:xfrm>
            <a:off x="5580800" y="2815485"/>
            <a:ext cx="253724" cy="253763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4" name="Freeform 1541">
            <a:extLst>
              <a:ext uri="{FF2B5EF4-FFF2-40B4-BE49-F238E27FC236}">
                <a16:creationId xmlns:a16="http://schemas.microsoft.com/office/drawing/2014/main" id="{052F921B-BE3E-A2AD-8648-D0F20189A40B}"/>
              </a:ext>
            </a:extLst>
          </p:cNvPr>
          <p:cNvSpPr>
            <a:spLocks noEditPoints="1"/>
          </p:cNvSpPr>
          <p:nvPr/>
        </p:nvSpPr>
        <p:spPr bwMode="auto">
          <a:xfrm>
            <a:off x="5346595" y="3056452"/>
            <a:ext cx="247216" cy="236702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5" name="Freeform 1542">
            <a:extLst>
              <a:ext uri="{FF2B5EF4-FFF2-40B4-BE49-F238E27FC236}">
                <a16:creationId xmlns:a16="http://schemas.microsoft.com/office/drawing/2014/main" id="{5697E6C2-292F-C67C-051B-8314F686B97A}"/>
              </a:ext>
            </a:extLst>
          </p:cNvPr>
          <p:cNvSpPr>
            <a:spLocks noEditPoints="1"/>
          </p:cNvSpPr>
          <p:nvPr/>
        </p:nvSpPr>
        <p:spPr bwMode="auto">
          <a:xfrm>
            <a:off x="5522246" y="3028730"/>
            <a:ext cx="99753" cy="93827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6" name="Freeform 1543">
            <a:extLst>
              <a:ext uri="{FF2B5EF4-FFF2-40B4-BE49-F238E27FC236}">
                <a16:creationId xmlns:a16="http://schemas.microsoft.com/office/drawing/2014/main" id="{1B718900-EDD7-5B8F-6574-1FDCB18E6F3B}"/>
              </a:ext>
            </a:extLst>
          </p:cNvPr>
          <p:cNvSpPr>
            <a:spLocks/>
          </p:cNvSpPr>
          <p:nvPr/>
        </p:nvSpPr>
        <p:spPr bwMode="auto">
          <a:xfrm>
            <a:off x="5793316" y="2815485"/>
            <a:ext cx="43372" cy="42649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7" name="Freeform 843">
            <a:extLst>
              <a:ext uri="{FF2B5EF4-FFF2-40B4-BE49-F238E27FC236}">
                <a16:creationId xmlns:a16="http://schemas.microsoft.com/office/drawing/2014/main" id="{1B37A7DD-2088-A685-6BFF-31F0868E2FB8}"/>
              </a:ext>
            </a:extLst>
          </p:cNvPr>
          <p:cNvSpPr>
            <a:spLocks noEditPoints="1"/>
          </p:cNvSpPr>
          <p:nvPr/>
        </p:nvSpPr>
        <p:spPr bwMode="auto">
          <a:xfrm>
            <a:off x="9216275" y="2818526"/>
            <a:ext cx="80293" cy="84817"/>
          </a:xfrm>
          <a:custGeom>
            <a:avLst/>
            <a:gdLst>
              <a:gd name="T0" fmla="*/ 39 w 78"/>
              <a:gd name="T1" fmla="*/ 79 h 79"/>
              <a:gd name="T2" fmla="*/ 0 w 78"/>
              <a:gd name="T3" fmla="*/ 40 h 79"/>
              <a:gd name="T4" fmla="*/ 39 w 78"/>
              <a:gd name="T5" fmla="*/ 0 h 79"/>
              <a:gd name="T6" fmla="*/ 78 w 78"/>
              <a:gd name="T7" fmla="*/ 40 h 79"/>
              <a:gd name="T8" fmla="*/ 39 w 78"/>
              <a:gd name="T9" fmla="*/ 79 h 79"/>
              <a:gd name="T10" fmla="*/ 39 w 78"/>
              <a:gd name="T11" fmla="*/ 13 h 79"/>
              <a:gd name="T12" fmla="*/ 12 w 78"/>
              <a:gd name="T13" fmla="*/ 40 h 79"/>
              <a:gd name="T14" fmla="*/ 39 w 78"/>
              <a:gd name="T15" fmla="*/ 66 h 79"/>
              <a:gd name="T16" fmla="*/ 66 w 78"/>
              <a:gd name="T17" fmla="*/ 40 h 79"/>
              <a:gd name="T18" fmla="*/ 39 w 78"/>
              <a:gd name="T19" fmla="*/ 13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8" h="79">
                <a:moveTo>
                  <a:pt x="39" y="79"/>
                </a:moveTo>
                <a:cubicBezTo>
                  <a:pt x="17" y="79"/>
                  <a:pt x="0" y="61"/>
                  <a:pt x="0" y="40"/>
                </a:cubicBezTo>
                <a:cubicBezTo>
                  <a:pt x="0" y="18"/>
                  <a:pt x="17" y="0"/>
                  <a:pt x="39" y="0"/>
                </a:cubicBezTo>
                <a:cubicBezTo>
                  <a:pt x="60" y="0"/>
                  <a:pt x="78" y="18"/>
                  <a:pt x="78" y="40"/>
                </a:cubicBezTo>
                <a:cubicBezTo>
                  <a:pt x="78" y="61"/>
                  <a:pt x="60" y="79"/>
                  <a:pt x="39" y="79"/>
                </a:cubicBezTo>
                <a:close/>
                <a:moveTo>
                  <a:pt x="39" y="13"/>
                </a:moveTo>
                <a:cubicBezTo>
                  <a:pt x="24" y="13"/>
                  <a:pt x="12" y="25"/>
                  <a:pt x="12" y="40"/>
                </a:cubicBezTo>
                <a:cubicBezTo>
                  <a:pt x="12" y="54"/>
                  <a:pt x="24" y="66"/>
                  <a:pt x="39" y="66"/>
                </a:cubicBezTo>
                <a:cubicBezTo>
                  <a:pt x="54" y="66"/>
                  <a:pt x="66" y="54"/>
                  <a:pt x="66" y="40"/>
                </a:cubicBezTo>
                <a:cubicBezTo>
                  <a:pt x="66" y="25"/>
                  <a:pt x="54" y="13"/>
                  <a:pt x="39" y="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8" name="Freeform 844">
            <a:extLst>
              <a:ext uri="{FF2B5EF4-FFF2-40B4-BE49-F238E27FC236}">
                <a16:creationId xmlns:a16="http://schemas.microsoft.com/office/drawing/2014/main" id="{1D961CC4-29D4-7F2D-1861-B36DD2D3826C}"/>
              </a:ext>
            </a:extLst>
          </p:cNvPr>
          <p:cNvSpPr>
            <a:spLocks noEditPoints="1"/>
          </p:cNvSpPr>
          <p:nvPr/>
        </p:nvSpPr>
        <p:spPr bwMode="auto">
          <a:xfrm>
            <a:off x="9025104" y="2945752"/>
            <a:ext cx="149116" cy="331559"/>
          </a:xfrm>
          <a:custGeom>
            <a:avLst/>
            <a:gdLst>
              <a:gd name="T0" fmla="*/ 110 w 139"/>
              <a:gd name="T1" fmla="*/ 311 h 311"/>
              <a:gd name="T2" fmla="*/ 87 w 139"/>
              <a:gd name="T3" fmla="*/ 300 h 311"/>
              <a:gd name="T4" fmla="*/ 65 w 139"/>
              <a:gd name="T5" fmla="*/ 311 h 311"/>
              <a:gd name="T6" fmla="*/ 36 w 139"/>
              <a:gd name="T7" fmla="*/ 282 h 311"/>
              <a:gd name="T8" fmla="*/ 36 w 139"/>
              <a:gd name="T9" fmla="*/ 158 h 311"/>
              <a:gd name="T10" fmla="*/ 26 w 139"/>
              <a:gd name="T11" fmla="*/ 161 h 311"/>
              <a:gd name="T12" fmla="*/ 8 w 139"/>
              <a:gd name="T13" fmla="*/ 155 h 311"/>
              <a:gd name="T14" fmla="*/ 0 w 139"/>
              <a:gd name="T15" fmla="*/ 137 h 311"/>
              <a:gd name="T16" fmla="*/ 0 w 139"/>
              <a:gd name="T17" fmla="*/ 42 h 311"/>
              <a:gd name="T18" fmla="*/ 42 w 139"/>
              <a:gd name="T19" fmla="*/ 0 h 311"/>
              <a:gd name="T20" fmla="*/ 132 w 139"/>
              <a:gd name="T21" fmla="*/ 0 h 311"/>
              <a:gd name="T22" fmla="*/ 137 w 139"/>
              <a:gd name="T23" fmla="*/ 3 h 311"/>
              <a:gd name="T24" fmla="*/ 138 w 139"/>
              <a:gd name="T25" fmla="*/ 8 h 311"/>
              <a:gd name="T26" fmla="*/ 136 w 139"/>
              <a:gd name="T27" fmla="*/ 19 h 311"/>
              <a:gd name="T28" fmla="*/ 136 w 139"/>
              <a:gd name="T29" fmla="*/ 123 h 311"/>
              <a:gd name="T30" fmla="*/ 138 w 139"/>
              <a:gd name="T31" fmla="*/ 130 h 311"/>
              <a:gd name="T32" fmla="*/ 139 w 139"/>
              <a:gd name="T33" fmla="*/ 133 h 311"/>
              <a:gd name="T34" fmla="*/ 139 w 139"/>
              <a:gd name="T35" fmla="*/ 136 h 311"/>
              <a:gd name="T36" fmla="*/ 139 w 139"/>
              <a:gd name="T37" fmla="*/ 137 h 311"/>
              <a:gd name="T38" fmla="*/ 139 w 139"/>
              <a:gd name="T39" fmla="*/ 137 h 311"/>
              <a:gd name="T40" fmla="*/ 139 w 139"/>
              <a:gd name="T41" fmla="*/ 140 h 311"/>
              <a:gd name="T42" fmla="*/ 139 w 139"/>
              <a:gd name="T43" fmla="*/ 140 h 311"/>
              <a:gd name="T44" fmla="*/ 139 w 139"/>
              <a:gd name="T45" fmla="*/ 282 h 311"/>
              <a:gd name="T46" fmla="*/ 110 w 139"/>
              <a:gd name="T47" fmla="*/ 311 h 311"/>
              <a:gd name="T48" fmla="*/ 93 w 139"/>
              <a:gd name="T49" fmla="*/ 282 h 311"/>
              <a:gd name="T50" fmla="*/ 110 w 139"/>
              <a:gd name="T51" fmla="*/ 298 h 311"/>
              <a:gd name="T52" fmla="*/ 126 w 139"/>
              <a:gd name="T53" fmla="*/ 282 h 311"/>
              <a:gd name="T54" fmla="*/ 126 w 139"/>
              <a:gd name="T55" fmla="*/ 137 h 311"/>
              <a:gd name="T56" fmla="*/ 126 w 139"/>
              <a:gd name="T57" fmla="*/ 136 h 311"/>
              <a:gd name="T58" fmla="*/ 126 w 139"/>
              <a:gd name="T59" fmla="*/ 135 h 311"/>
              <a:gd name="T60" fmla="*/ 123 w 139"/>
              <a:gd name="T61" fmla="*/ 123 h 311"/>
              <a:gd name="T62" fmla="*/ 123 w 139"/>
              <a:gd name="T63" fmla="*/ 19 h 311"/>
              <a:gd name="T64" fmla="*/ 124 w 139"/>
              <a:gd name="T65" fmla="*/ 12 h 311"/>
              <a:gd name="T66" fmla="*/ 42 w 139"/>
              <a:gd name="T67" fmla="*/ 12 h 311"/>
              <a:gd name="T68" fmla="*/ 12 w 139"/>
              <a:gd name="T69" fmla="*/ 42 h 311"/>
              <a:gd name="T70" fmla="*/ 12 w 139"/>
              <a:gd name="T71" fmla="*/ 137 h 311"/>
              <a:gd name="T72" fmla="*/ 16 w 139"/>
              <a:gd name="T73" fmla="*/ 146 h 311"/>
              <a:gd name="T74" fmla="*/ 25 w 139"/>
              <a:gd name="T75" fmla="*/ 149 h 311"/>
              <a:gd name="T76" fmla="*/ 36 w 139"/>
              <a:gd name="T77" fmla="*/ 137 h 311"/>
              <a:gd name="T78" fmla="*/ 36 w 139"/>
              <a:gd name="T79" fmla="*/ 71 h 311"/>
              <a:gd name="T80" fmla="*/ 42 w 139"/>
              <a:gd name="T81" fmla="*/ 65 h 311"/>
              <a:gd name="T82" fmla="*/ 48 w 139"/>
              <a:gd name="T83" fmla="*/ 71 h 311"/>
              <a:gd name="T84" fmla="*/ 48 w 139"/>
              <a:gd name="T85" fmla="*/ 282 h 311"/>
              <a:gd name="T86" fmla="*/ 65 w 139"/>
              <a:gd name="T87" fmla="*/ 298 h 311"/>
              <a:gd name="T88" fmla="*/ 81 w 139"/>
              <a:gd name="T89" fmla="*/ 282 h 311"/>
              <a:gd name="T90" fmla="*/ 81 w 139"/>
              <a:gd name="T91" fmla="*/ 172 h 311"/>
              <a:gd name="T92" fmla="*/ 87 w 139"/>
              <a:gd name="T93" fmla="*/ 166 h 311"/>
              <a:gd name="T94" fmla="*/ 93 w 139"/>
              <a:gd name="T95" fmla="*/ 172 h 311"/>
              <a:gd name="T96" fmla="*/ 93 w 139"/>
              <a:gd name="T97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9" h="311">
                <a:moveTo>
                  <a:pt x="110" y="311"/>
                </a:moveTo>
                <a:cubicBezTo>
                  <a:pt x="101" y="311"/>
                  <a:pt x="93" y="306"/>
                  <a:pt x="87" y="300"/>
                </a:cubicBezTo>
                <a:cubicBezTo>
                  <a:pt x="82" y="306"/>
                  <a:pt x="74" y="311"/>
                  <a:pt x="65" y="311"/>
                </a:cubicBezTo>
                <a:cubicBezTo>
                  <a:pt x="49" y="311"/>
                  <a:pt x="36" y="298"/>
                  <a:pt x="36" y="282"/>
                </a:cubicBezTo>
                <a:cubicBezTo>
                  <a:pt x="36" y="158"/>
                  <a:pt x="36" y="158"/>
                  <a:pt x="36" y="158"/>
                </a:cubicBezTo>
                <a:cubicBezTo>
                  <a:pt x="33" y="160"/>
                  <a:pt x="30" y="161"/>
                  <a:pt x="26" y="161"/>
                </a:cubicBezTo>
                <a:cubicBezTo>
                  <a:pt x="19" y="162"/>
                  <a:pt x="13" y="160"/>
                  <a:pt x="8" y="155"/>
                </a:cubicBezTo>
                <a:cubicBezTo>
                  <a:pt x="3" y="151"/>
                  <a:pt x="0" y="144"/>
                  <a:pt x="0" y="13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9"/>
                  <a:pt x="19" y="0"/>
                  <a:pt x="4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4" y="0"/>
                  <a:pt x="136" y="1"/>
                  <a:pt x="137" y="3"/>
                </a:cubicBezTo>
                <a:cubicBezTo>
                  <a:pt x="138" y="4"/>
                  <a:pt x="138" y="6"/>
                  <a:pt x="138" y="8"/>
                </a:cubicBezTo>
                <a:cubicBezTo>
                  <a:pt x="136" y="12"/>
                  <a:pt x="136" y="16"/>
                  <a:pt x="136" y="19"/>
                </a:cubicBezTo>
                <a:cubicBezTo>
                  <a:pt x="136" y="123"/>
                  <a:pt x="136" y="123"/>
                  <a:pt x="136" y="123"/>
                </a:cubicBezTo>
                <a:cubicBezTo>
                  <a:pt x="136" y="125"/>
                  <a:pt x="136" y="128"/>
                  <a:pt x="138" y="130"/>
                </a:cubicBezTo>
                <a:cubicBezTo>
                  <a:pt x="138" y="131"/>
                  <a:pt x="139" y="132"/>
                  <a:pt x="139" y="133"/>
                </a:cubicBezTo>
                <a:cubicBezTo>
                  <a:pt x="139" y="136"/>
                  <a:pt x="139" y="136"/>
                  <a:pt x="139" y="136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282"/>
                  <a:pt x="139" y="282"/>
                  <a:pt x="139" y="282"/>
                </a:cubicBezTo>
                <a:cubicBezTo>
                  <a:pt x="139" y="298"/>
                  <a:pt x="126" y="311"/>
                  <a:pt x="110" y="311"/>
                </a:cubicBezTo>
                <a:close/>
                <a:moveTo>
                  <a:pt x="93" y="282"/>
                </a:moveTo>
                <a:cubicBezTo>
                  <a:pt x="93" y="291"/>
                  <a:pt x="101" y="298"/>
                  <a:pt x="110" y="298"/>
                </a:cubicBezTo>
                <a:cubicBezTo>
                  <a:pt x="119" y="298"/>
                  <a:pt x="126" y="291"/>
                  <a:pt x="126" y="282"/>
                </a:cubicBezTo>
                <a:cubicBezTo>
                  <a:pt x="126" y="137"/>
                  <a:pt x="126" y="137"/>
                  <a:pt x="126" y="137"/>
                </a:cubicBezTo>
                <a:cubicBezTo>
                  <a:pt x="126" y="137"/>
                  <a:pt x="126" y="136"/>
                  <a:pt x="126" y="136"/>
                </a:cubicBezTo>
                <a:cubicBezTo>
                  <a:pt x="126" y="136"/>
                  <a:pt x="126" y="135"/>
                  <a:pt x="126" y="135"/>
                </a:cubicBezTo>
                <a:cubicBezTo>
                  <a:pt x="124" y="131"/>
                  <a:pt x="123" y="127"/>
                  <a:pt x="123" y="123"/>
                </a:cubicBezTo>
                <a:cubicBezTo>
                  <a:pt x="123" y="19"/>
                  <a:pt x="123" y="19"/>
                  <a:pt x="123" y="19"/>
                </a:cubicBezTo>
                <a:cubicBezTo>
                  <a:pt x="123" y="17"/>
                  <a:pt x="124" y="15"/>
                  <a:pt x="124" y="12"/>
                </a:cubicBezTo>
                <a:cubicBezTo>
                  <a:pt x="42" y="12"/>
                  <a:pt x="42" y="12"/>
                  <a:pt x="42" y="12"/>
                </a:cubicBezTo>
                <a:cubicBezTo>
                  <a:pt x="25" y="12"/>
                  <a:pt x="12" y="26"/>
                  <a:pt x="12" y="42"/>
                </a:cubicBezTo>
                <a:cubicBezTo>
                  <a:pt x="12" y="137"/>
                  <a:pt x="12" y="137"/>
                  <a:pt x="12" y="137"/>
                </a:cubicBezTo>
                <a:cubicBezTo>
                  <a:pt x="12" y="141"/>
                  <a:pt x="13" y="144"/>
                  <a:pt x="16" y="146"/>
                </a:cubicBezTo>
                <a:cubicBezTo>
                  <a:pt x="18" y="148"/>
                  <a:pt x="22" y="150"/>
                  <a:pt x="25" y="149"/>
                </a:cubicBezTo>
                <a:cubicBezTo>
                  <a:pt x="31" y="149"/>
                  <a:pt x="36" y="143"/>
                  <a:pt x="36" y="137"/>
                </a:cubicBezTo>
                <a:cubicBezTo>
                  <a:pt x="36" y="71"/>
                  <a:pt x="36" y="71"/>
                  <a:pt x="36" y="71"/>
                </a:cubicBezTo>
                <a:cubicBezTo>
                  <a:pt x="36" y="68"/>
                  <a:pt x="39" y="65"/>
                  <a:pt x="42" y="65"/>
                </a:cubicBezTo>
                <a:cubicBezTo>
                  <a:pt x="45" y="65"/>
                  <a:pt x="48" y="68"/>
                  <a:pt x="48" y="71"/>
                </a:cubicBezTo>
                <a:cubicBezTo>
                  <a:pt x="48" y="282"/>
                  <a:pt x="48" y="282"/>
                  <a:pt x="48" y="282"/>
                </a:cubicBezTo>
                <a:cubicBezTo>
                  <a:pt x="48" y="291"/>
                  <a:pt x="55" y="298"/>
                  <a:pt x="65" y="298"/>
                </a:cubicBezTo>
                <a:cubicBezTo>
                  <a:pt x="74" y="298"/>
                  <a:pt x="81" y="291"/>
                  <a:pt x="81" y="282"/>
                </a:cubicBezTo>
                <a:cubicBezTo>
                  <a:pt x="81" y="172"/>
                  <a:pt x="81" y="172"/>
                  <a:pt x="81" y="172"/>
                </a:cubicBezTo>
                <a:cubicBezTo>
                  <a:pt x="81" y="169"/>
                  <a:pt x="84" y="166"/>
                  <a:pt x="87" y="166"/>
                </a:cubicBezTo>
                <a:cubicBezTo>
                  <a:pt x="91" y="166"/>
                  <a:pt x="93" y="169"/>
                  <a:pt x="93" y="172"/>
                </a:cubicBezTo>
                <a:lnTo>
                  <a:pt x="93" y="2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79" name="Freeform 845">
            <a:extLst>
              <a:ext uri="{FF2B5EF4-FFF2-40B4-BE49-F238E27FC236}">
                <a16:creationId xmlns:a16="http://schemas.microsoft.com/office/drawing/2014/main" id="{AFA452C7-F0D5-4A35-8C9F-98C2D05BA2B0}"/>
              </a:ext>
            </a:extLst>
          </p:cNvPr>
          <p:cNvSpPr>
            <a:spLocks noEditPoints="1"/>
          </p:cNvSpPr>
          <p:nvPr/>
        </p:nvSpPr>
        <p:spPr bwMode="auto">
          <a:xfrm>
            <a:off x="9078632" y="2857077"/>
            <a:ext cx="76468" cy="77108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6" y="0"/>
                  <a:pt x="73" y="16"/>
                  <a:pt x="73" y="36"/>
                </a:cubicBezTo>
                <a:cubicBezTo>
                  <a:pt x="73" y="56"/>
                  <a:pt x="56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0" name="Freeform 846">
            <a:extLst>
              <a:ext uri="{FF2B5EF4-FFF2-40B4-BE49-F238E27FC236}">
                <a16:creationId xmlns:a16="http://schemas.microsoft.com/office/drawing/2014/main" id="{742DB49E-6181-AC4D-1E20-48F8B3BD88E0}"/>
              </a:ext>
            </a:extLst>
          </p:cNvPr>
          <p:cNvSpPr>
            <a:spLocks noEditPoints="1"/>
          </p:cNvSpPr>
          <p:nvPr/>
        </p:nvSpPr>
        <p:spPr bwMode="auto">
          <a:xfrm>
            <a:off x="9338625" y="2945752"/>
            <a:ext cx="149116" cy="331559"/>
          </a:xfrm>
          <a:custGeom>
            <a:avLst/>
            <a:gdLst>
              <a:gd name="T0" fmla="*/ 74 w 139"/>
              <a:gd name="T1" fmla="*/ 311 h 311"/>
              <a:gd name="T2" fmla="*/ 51 w 139"/>
              <a:gd name="T3" fmla="*/ 300 h 311"/>
              <a:gd name="T4" fmla="*/ 29 w 139"/>
              <a:gd name="T5" fmla="*/ 311 h 311"/>
              <a:gd name="T6" fmla="*/ 0 w 139"/>
              <a:gd name="T7" fmla="*/ 282 h 311"/>
              <a:gd name="T8" fmla="*/ 0 w 139"/>
              <a:gd name="T9" fmla="*/ 137 h 311"/>
              <a:gd name="T10" fmla="*/ 0 w 139"/>
              <a:gd name="T11" fmla="*/ 135 h 311"/>
              <a:gd name="T12" fmla="*/ 3 w 139"/>
              <a:gd name="T13" fmla="*/ 123 h 311"/>
              <a:gd name="T14" fmla="*/ 3 w 139"/>
              <a:gd name="T15" fmla="*/ 19 h 311"/>
              <a:gd name="T16" fmla="*/ 1 w 139"/>
              <a:gd name="T17" fmla="*/ 8 h 311"/>
              <a:gd name="T18" fmla="*/ 2 w 139"/>
              <a:gd name="T19" fmla="*/ 3 h 311"/>
              <a:gd name="T20" fmla="*/ 7 w 139"/>
              <a:gd name="T21" fmla="*/ 0 h 311"/>
              <a:gd name="T22" fmla="*/ 97 w 139"/>
              <a:gd name="T23" fmla="*/ 0 h 311"/>
              <a:gd name="T24" fmla="*/ 139 w 139"/>
              <a:gd name="T25" fmla="*/ 42 h 311"/>
              <a:gd name="T26" fmla="*/ 139 w 139"/>
              <a:gd name="T27" fmla="*/ 137 h 311"/>
              <a:gd name="T28" fmla="*/ 131 w 139"/>
              <a:gd name="T29" fmla="*/ 155 h 311"/>
              <a:gd name="T30" fmla="*/ 112 w 139"/>
              <a:gd name="T31" fmla="*/ 161 h 311"/>
              <a:gd name="T32" fmla="*/ 103 w 139"/>
              <a:gd name="T33" fmla="*/ 158 h 311"/>
              <a:gd name="T34" fmla="*/ 103 w 139"/>
              <a:gd name="T35" fmla="*/ 282 h 311"/>
              <a:gd name="T36" fmla="*/ 74 w 139"/>
              <a:gd name="T37" fmla="*/ 311 h 311"/>
              <a:gd name="T38" fmla="*/ 58 w 139"/>
              <a:gd name="T39" fmla="*/ 282 h 311"/>
              <a:gd name="T40" fmla="*/ 74 w 139"/>
              <a:gd name="T41" fmla="*/ 298 h 311"/>
              <a:gd name="T42" fmla="*/ 91 w 139"/>
              <a:gd name="T43" fmla="*/ 282 h 311"/>
              <a:gd name="T44" fmla="*/ 91 w 139"/>
              <a:gd name="T45" fmla="*/ 137 h 311"/>
              <a:gd name="T46" fmla="*/ 91 w 139"/>
              <a:gd name="T47" fmla="*/ 137 h 311"/>
              <a:gd name="T48" fmla="*/ 91 w 139"/>
              <a:gd name="T49" fmla="*/ 71 h 311"/>
              <a:gd name="T50" fmla="*/ 97 w 139"/>
              <a:gd name="T51" fmla="*/ 65 h 311"/>
              <a:gd name="T52" fmla="*/ 103 w 139"/>
              <a:gd name="T53" fmla="*/ 71 h 311"/>
              <a:gd name="T54" fmla="*/ 103 w 139"/>
              <a:gd name="T55" fmla="*/ 136 h 311"/>
              <a:gd name="T56" fmla="*/ 103 w 139"/>
              <a:gd name="T57" fmla="*/ 137 h 311"/>
              <a:gd name="T58" fmla="*/ 114 w 139"/>
              <a:gd name="T59" fmla="*/ 149 h 311"/>
              <a:gd name="T60" fmla="*/ 123 w 139"/>
              <a:gd name="T61" fmla="*/ 146 h 311"/>
              <a:gd name="T62" fmla="*/ 127 w 139"/>
              <a:gd name="T63" fmla="*/ 137 h 311"/>
              <a:gd name="T64" fmla="*/ 127 w 139"/>
              <a:gd name="T65" fmla="*/ 42 h 311"/>
              <a:gd name="T66" fmla="*/ 97 w 139"/>
              <a:gd name="T67" fmla="*/ 12 h 311"/>
              <a:gd name="T68" fmla="*/ 15 w 139"/>
              <a:gd name="T69" fmla="*/ 12 h 311"/>
              <a:gd name="T70" fmla="*/ 15 w 139"/>
              <a:gd name="T71" fmla="*/ 19 h 311"/>
              <a:gd name="T72" fmla="*/ 15 w 139"/>
              <a:gd name="T73" fmla="*/ 123 h 311"/>
              <a:gd name="T74" fmla="*/ 12 w 139"/>
              <a:gd name="T75" fmla="*/ 137 h 311"/>
              <a:gd name="T76" fmla="*/ 12 w 139"/>
              <a:gd name="T77" fmla="*/ 282 h 311"/>
              <a:gd name="T78" fmla="*/ 29 w 139"/>
              <a:gd name="T79" fmla="*/ 298 h 311"/>
              <a:gd name="T80" fmla="*/ 45 w 139"/>
              <a:gd name="T81" fmla="*/ 282 h 311"/>
              <a:gd name="T82" fmla="*/ 45 w 139"/>
              <a:gd name="T83" fmla="*/ 172 h 311"/>
              <a:gd name="T84" fmla="*/ 51 w 139"/>
              <a:gd name="T85" fmla="*/ 166 h 311"/>
              <a:gd name="T86" fmla="*/ 58 w 139"/>
              <a:gd name="T87" fmla="*/ 172 h 311"/>
              <a:gd name="T88" fmla="*/ 58 w 139"/>
              <a:gd name="T89" fmla="*/ 2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39" h="311">
                <a:moveTo>
                  <a:pt x="74" y="311"/>
                </a:moveTo>
                <a:cubicBezTo>
                  <a:pt x="65" y="311"/>
                  <a:pt x="57" y="306"/>
                  <a:pt x="51" y="300"/>
                </a:cubicBezTo>
                <a:cubicBezTo>
                  <a:pt x="46" y="306"/>
                  <a:pt x="38" y="311"/>
                  <a:pt x="29" y="311"/>
                </a:cubicBezTo>
                <a:cubicBezTo>
                  <a:pt x="13" y="311"/>
                  <a:pt x="0" y="298"/>
                  <a:pt x="0" y="282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36"/>
                  <a:pt x="0" y="135"/>
                  <a:pt x="0" y="135"/>
                </a:cubicBezTo>
                <a:cubicBezTo>
                  <a:pt x="2" y="130"/>
                  <a:pt x="3" y="124"/>
                  <a:pt x="3" y="123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16"/>
                  <a:pt x="2" y="12"/>
                  <a:pt x="1" y="8"/>
                </a:cubicBezTo>
                <a:cubicBezTo>
                  <a:pt x="0" y="6"/>
                  <a:pt x="1" y="4"/>
                  <a:pt x="2" y="3"/>
                </a:cubicBezTo>
                <a:cubicBezTo>
                  <a:pt x="3" y="1"/>
                  <a:pt x="5" y="0"/>
                  <a:pt x="7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20" y="0"/>
                  <a:pt x="139" y="19"/>
                  <a:pt x="139" y="42"/>
                </a:cubicBezTo>
                <a:cubicBezTo>
                  <a:pt x="139" y="137"/>
                  <a:pt x="139" y="137"/>
                  <a:pt x="139" y="137"/>
                </a:cubicBezTo>
                <a:cubicBezTo>
                  <a:pt x="139" y="144"/>
                  <a:pt x="136" y="151"/>
                  <a:pt x="131" y="155"/>
                </a:cubicBezTo>
                <a:cubicBezTo>
                  <a:pt x="126" y="160"/>
                  <a:pt x="119" y="162"/>
                  <a:pt x="112" y="161"/>
                </a:cubicBezTo>
                <a:cubicBezTo>
                  <a:pt x="109" y="161"/>
                  <a:pt x="106" y="160"/>
                  <a:pt x="103" y="158"/>
                </a:cubicBezTo>
                <a:cubicBezTo>
                  <a:pt x="103" y="282"/>
                  <a:pt x="103" y="282"/>
                  <a:pt x="103" y="282"/>
                </a:cubicBezTo>
                <a:cubicBezTo>
                  <a:pt x="103" y="298"/>
                  <a:pt x="90" y="311"/>
                  <a:pt x="74" y="311"/>
                </a:cubicBezTo>
                <a:close/>
                <a:moveTo>
                  <a:pt x="58" y="282"/>
                </a:moveTo>
                <a:cubicBezTo>
                  <a:pt x="58" y="291"/>
                  <a:pt x="65" y="298"/>
                  <a:pt x="74" y="298"/>
                </a:cubicBezTo>
                <a:cubicBezTo>
                  <a:pt x="83" y="298"/>
                  <a:pt x="91" y="291"/>
                  <a:pt x="91" y="282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137"/>
                  <a:pt x="91" y="137"/>
                  <a:pt x="91" y="137"/>
                </a:cubicBezTo>
                <a:cubicBezTo>
                  <a:pt x="91" y="71"/>
                  <a:pt x="91" y="71"/>
                  <a:pt x="91" y="71"/>
                </a:cubicBezTo>
                <a:cubicBezTo>
                  <a:pt x="91" y="68"/>
                  <a:pt x="93" y="65"/>
                  <a:pt x="97" y="65"/>
                </a:cubicBezTo>
                <a:cubicBezTo>
                  <a:pt x="100" y="65"/>
                  <a:pt x="103" y="68"/>
                  <a:pt x="103" y="71"/>
                </a:cubicBezTo>
                <a:cubicBezTo>
                  <a:pt x="103" y="136"/>
                  <a:pt x="103" y="136"/>
                  <a:pt x="103" y="136"/>
                </a:cubicBezTo>
                <a:cubicBezTo>
                  <a:pt x="103" y="136"/>
                  <a:pt x="103" y="136"/>
                  <a:pt x="103" y="137"/>
                </a:cubicBezTo>
                <a:cubicBezTo>
                  <a:pt x="103" y="143"/>
                  <a:pt x="108" y="149"/>
                  <a:pt x="114" y="149"/>
                </a:cubicBezTo>
                <a:cubicBezTo>
                  <a:pt x="117" y="149"/>
                  <a:pt x="120" y="148"/>
                  <a:pt x="123" y="146"/>
                </a:cubicBezTo>
                <a:cubicBezTo>
                  <a:pt x="125" y="144"/>
                  <a:pt x="127" y="141"/>
                  <a:pt x="127" y="137"/>
                </a:cubicBezTo>
                <a:cubicBezTo>
                  <a:pt x="127" y="42"/>
                  <a:pt x="127" y="42"/>
                  <a:pt x="127" y="42"/>
                </a:cubicBezTo>
                <a:cubicBezTo>
                  <a:pt x="127" y="26"/>
                  <a:pt x="113" y="12"/>
                  <a:pt x="97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5" y="15"/>
                  <a:pt x="15" y="17"/>
                  <a:pt x="15" y="19"/>
                </a:cubicBezTo>
                <a:cubicBezTo>
                  <a:pt x="15" y="123"/>
                  <a:pt x="15" y="123"/>
                  <a:pt x="15" y="123"/>
                </a:cubicBezTo>
                <a:cubicBezTo>
                  <a:pt x="15" y="127"/>
                  <a:pt x="13" y="134"/>
                  <a:pt x="12" y="137"/>
                </a:cubicBezTo>
                <a:cubicBezTo>
                  <a:pt x="12" y="282"/>
                  <a:pt x="12" y="282"/>
                  <a:pt x="12" y="282"/>
                </a:cubicBezTo>
                <a:cubicBezTo>
                  <a:pt x="12" y="291"/>
                  <a:pt x="20" y="298"/>
                  <a:pt x="29" y="298"/>
                </a:cubicBezTo>
                <a:cubicBezTo>
                  <a:pt x="38" y="298"/>
                  <a:pt x="45" y="291"/>
                  <a:pt x="45" y="282"/>
                </a:cubicBezTo>
                <a:cubicBezTo>
                  <a:pt x="45" y="172"/>
                  <a:pt x="45" y="172"/>
                  <a:pt x="45" y="172"/>
                </a:cubicBezTo>
                <a:cubicBezTo>
                  <a:pt x="45" y="169"/>
                  <a:pt x="48" y="166"/>
                  <a:pt x="51" y="166"/>
                </a:cubicBezTo>
                <a:cubicBezTo>
                  <a:pt x="55" y="166"/>
                  <a:pt x="58" y="169"/>
                  <a:pt x="58" y="172"/>
                </a:cubicBezTo>
                <a:lnTo>
                  <a:pt x="58" y="2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1" name="Freeform 847">
            <a:extLst>
              <a:ext uri="{FF2B5EF4-FFF2-40B4-BE49-F238E27FC236}">
                <a16:creationId xmlns:a16="http://schemas.microsoft.com/office/drawing/2014/main" id="{6161E375-CC57-361D-7501-324C77011EF5}"/>
              </a:ext>
            </a:extLst>
          </p:cNvPr>
          <p:cNvSpPr>
            <a:spLocks noEditPoints="1"/>
          </p:cNvSpPr>
          <p:nvPr/>
        </p:nvSpPr>
        <p:spPr bwMode="auto">
          <a:xfrm>
            <a:off x="9155098" y="2918762"/>
            <a:ext cx="198817" cy="358547"/>
          </a:xfrm>
          <a:custGeom>
            <a:avLst/>
            <a:gdLst>
              <a:gd name="T0" fmla="*/ 119 w 189"/>
              <a:gd name="T1" fmla="*/ 336 h 336"/>
              <a:gd name="T2" fmla="*/ 95 w 189"/>
              <a:gd name="T3" fmla="*/ 324 h 336"/>
              <a:gd name="T4" fmla="*/ 70 w 189"/>
              <a:gd name="T5" fmla="*/ 336 h 336"/>
              <a:gd name="T6" fmla="*/ 39 w 189"/>
              <a:gd name="T7" fmla="*/ 306 h 336"/>
              <a:gd name="T8" fmla="*/ 39 w 189"/>
              <a:gd name="T9" fmla="*/ 170 h 336"/>
              <a:gd name="T10" fmla="*/ 29 w 189"/>
              <a:gd name="T11" fmla="*/ 174 h 336"/>
              <a:gd name="T12" fmla="*/ 4 w 189"/>
              <a:gd name="T13" fmla="*/ 162 h 336"/>
              <a:gd name="T14" fmla="*/ 0 w 189"/>
              <a:gd name="T15" fmla="*/ 149 h 336"/>
              <a:gd name="T16" fmla="*/ 0 w 189"/>
              <a:gd name="T17" fmla="*/ 45 h 336"/>
              <a:gd name="T18" fmla="*/ 3 w 189"/>
              <a:gd name="T19" fmla="*/ 30 h 336"/>
              <a:gd name="T20" fmla="*/ 46 w 189"/>
              <a:gd name="T21" fmla="*/ 0 h 336"/>
              <a:gd name="T22" fmla="*/ 144 w 189"/>
              <a:gd name="T23" fmla="*/ 0 h 336"/>
              <a:gd name="T24" fmla="*/ 187 w 189"/>
              <a:gd name="T25" fmla="*/ 30 h 336"/>
              <a:gd name="T26" fmla="*/ 187 w 189"/>
              <a:gd name="T27" fmla="*/ 30 h 336"/>
              <a:gd name="T28" fmla="*/ 189 w 189"/>
              <a:gd name="T29" fmla="*/ 45 h 336"/>
              <a:gd name="T30" fmla="*/ 189 w 189"/>
              <a:gd name="T31" fmla="*/ 149 h 336"/>
              <a:gd name="T32" fmla="*/ 185 w 189"/>
              <a:gd name="T33" fmla="*/ 162 h 336"/>
              <a:gd name="T34" fmla="*/ 161 w 189"/>
              <a:gd name="T35" fmla="*/ 174 h 336"/>
              <a:gd name="T36" fmla="*/ 150 w 189"/>
              <a:gd name="T37" fmla="*/ 170 h 336"/>
              <a:gd name="T38" fmla="*/ 150 w 189"/>
              <a:gd name="T39" fmla="*/ 306 h 336"/>
              <a:gd name="T40" fmla="*/ 119 w 189"/>
              <a:gd name="T41" fmla="*/ 336 h 336"/>
              <a:gd name="T42" fmla="*/ 95 w 189"/>
              <a:gd name="T43" fmla="*/ 299 h 336"/>
              <a:gd name="T44" fmla="*/ 101 w 189"/>
              <a:gd name="T45" fmla="*/ 306 h 336"/>
              <a:gd name="T46" fmla="*/ 119 w 189"/>
              <a:gd name="T47" fmla="*/ 324 h 336"/>
              <a:gd name="T48" fmla="*/ 138 w 189"/>
              <a:gd name="T49" fmla="*/ 306 h 336"/>
              <a:gd name="T50" fmla="*/ 138 w 189"/>
              <a:gd name="T51" fmla="*/ 148 h 336"/>
              <a:gd name="T52" fmla="*/ 144 w 189"/>
              <a:gd name="T53" fmla="*/ 142 h 336"/>
              <a:gd name="T54" fmla="*/ 144 w 189"/>
              <a:gd name="T55" fmla="*/ 142 h 336"/>
              <a:gd name="T56" fmla="*/ 150 w 189"/>
              <a:gd name="T57" fmla="*/ 148 h 336"/>
              <a:gd name="T58" fmla="*/ 162 w 189"/>
              <a:gd name="T59" fmla="*/ 162 h 336"/>
              <a:gd name="T60" fmla="*/ 175 w 189"/>
              <a:gd name="T61" fmla="*/ 156 h 336"/>
              <a:gd name="T62" fmla="*/ 177 w 189"/>
              <a:gd name="T63" fmla="*/ 149 h 336"/>
              <a:gd name="T64" fmla="*/ 177 w 189"/>
              <a:gd name="T65" fmla="*/ 45 h 336"/>
              <a:gd name="T66" fmla="*/ 175 w 189"/>
              <a:gd name="T67" fmla="*/ 34 h 336"/>
              <a:gd name="T68" fmla="*/ 144 w 189"/>
              <a:gd name="T69" fmla="*/ 12 h 336"/>
              <a:gd name="T70" fmla="*/ 46 w 189"/>
              <a:gd name="T71" fmla="*/ 12 h 336"/>
              <a:gd name="T72" fmla="*/ 15 w 189"/>
              <a:gd name="T73" fmla="*/ 34 h 336"/>
              <a:gd name="T74" fmla="*/ 13 w 189"/>
              <a:gd name="T75" fmla="*/ 45 h 336"/>
              <a:gd name="T76" fmla="*/ 13 w 189"/>
              <a:gd name="T77" fmla="*/ 149 h 336"/>
              <a:gd name="T78" fmla="*/ 15 w 189"/>
              <a:gd name="T79" fmla="*/ 156 h 336"/>
              <a:gd name="T80" fmla="*/ 27 w 189"/>
              <a:gd name="T81" fmla="*/ 162 h 336"/>
              <a:gd name="T82" fmla="*/ 39 w 189"/>
              <a:gd name="T83" fmla="*/ 148 h 336"/>
              <a:gd name="T84" fmla="*/ 46 w 189"/>
              <a:gd name="T85" fmla="*/ 142 h 336"/>
              <a:gd name="T86" fmla="*/ 52 w 189"/>
              <a:gd name="T87" fmla="*/ 148 h 336"/>
              <a:gd name="T88" fmla="*/ 52 w 189"/>
              <a:gd name="T89" fmla="*/ 306 h 336"/>
              <a:gd name="T90" fmla="*/ 70 w 189"/>
              <a:gd name="T91" fmla="*/ 324 h 336"/>
              <a:gd name="T92" fmla="*/ 89 w 189"/>
              <a:gd name="T93" fmla="*/ 306 h 336"/>
              <a:gd name="T94" fmla="*/ 95 w 189"/>
              <a:gd name="T95" fmla="*/ 299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9" h="336">
                <a:moveTo>
                  <a:pt x="119" y="336"/>
                </a:moveTo>
                <a:cubicBezTo>
                  <a:pt x="109" y="336"/>
                  <a:pt x="100" y="331"/>
                  <a:pt x="95" y="324"/>
                </a:cubicBezTo>
                <a:cubicBezTo>
                  <a:pt x="89" y="331"/>
                  <a:pt x="80" y="336"/>
                  <a:pt x="70" y="336"/>
                </a:cubicBezTo>
                <a:cubicBezTo>
                  <a:pt x="53" y="336"/>
                  <a:pt x="39" y="323"/>
                  <a:pt x="39" y="306"/>
                </a:cubicBezTo>
                <a:cubicBezTo>
                  <a:pt x="39" y="170"/>
                  <a:pt x="39" y="170"/>
                  <a:pt x="39" y="170"/>
                </a:cubicBezTo>
                <a:cubicBezTo>
                  <a:pt x="36" y="173"/>
                  <a:pt x="33" y="174"/>
                  <a:pt x="29" y="174"/>
                </a:cubicBezTo>
                <a:cubicBezTo>
                  <a:pt x="19" y="175"/>
                  <a:pt x="10" y="171"/>
                  <a:pt x="4" y="162"/>
                </a:cubicBezTo>
                <a:cubicBezTo>
                  <a:pt x="2" y="158"/>
                  <a:pt x="0" y="153"/>
                  <a:pt x="0" y="14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0"/>
                  <a:pt x="1" y="35"/>
                  <a:pt x="3" y="30"/>
                </a:cubicBezTo>
                <a:cubicBezTo>
                  <a:pt x="9" y="12"/>
                  <a:pt x="27" y="0"/>
                  <a:pt x="46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63" y="0"/>
                  <a:pt x="180" y="12"/>
                  <a:pt x="187" y="30"/>
                </a:cubicBezTo>
                <a:cubicBezTo>
                  <a:pt x="187" y="30"/>
                  <a:pt x="187" y="30"/>
                  <a:pt x="187" y="30"/>
                </a:cubicBezTo>
                <a:cubicBezTo>
                  <a:pt x="188" y="35"/>
                  <a:pt x="189" y="40"/>
                  <a:pt x="189" y="45"/>
                </a:cubicBezTo>
                <a:cubicBezTo>
                  <a:pt x="189" y="149"/>
                  <a:pt x="189" y="149"/>
                  <a:pt x="189" y="149"/>
                </a:cubicBezTo>
                <a:cubicBezTo>
                  <a:pt x="189" y="153"/>
                  <a:pt x="188" y="158"/>
                  <a:pt x="185" y="162"/>
                </a:cubicBezTo>
                <a:cubicBezTo>
                  <a:pt x="180" y="171"/>
                  <a:pt x="171" y="175"/>
                  <a:pt x="161" y="174"/>
                </a:cubicBezTo>
                <a:cubicBezTo>
                  <a:pt x="157" y="174"/>
                  <a:pt x="153" y="173"/>
                  <a:pt x="150" y="170"/>
                </a:cubicBezTo>
                <a:cubicBezTo>
                  <a:pt x="150" y="306"/>
                  <a:pt x="150" y="306"/>
                  <a:pt x="150" y="306"/>
                </a:cubicBezTo>
                <a:cubicBezTo>
                  <a:pt x="150" y="323"/>
                  <a:pt x="136" y="336"/>
                  <a:pt x="119" y="336"/>
                </a:cubicBezTo>
                <a:close/>
                <a:moveTo>
                  <a:pt x="95" y="299"/>
                </a:moveTo>
                <a:cubicBezTo>
                  <a:pt x="98" y="299"/>
                  <a:pt x="101" y="302"/>
                  <a:pt x="101" y="306"/>
                </a:cubicBezTo>
                <a:cubicBezTo>
                  <a:pt x="101" y="316"/>
                  <a:pt x="109" y="324"/>
                  <a:pt x="119" y="324"/>
                </a:cubicBezTo>
                <a:cubicBezTo>
                  <a:pt x="130" y="324"/>
                  <a:pt x="138" y="316"/>
                  <a:pt x="138" y="306"/>
                </a:cubicBezTo>
                <a:cubicBezTo>
                  <a:pt x="138" y="148"/>
                  <a:pt x="138" y="148"/>
                  <a:pt x="138" y="148"/>
                </a:cubicBezTo>
                <a:cubicBezTo>
                  <a:pt x="138" y="145"/>
                  <a:pt x="141" y="142"/>
                  <a:pt x="144" y="142"/>
                </a:cubicBezTo>
                <a:cubicBezTo>
                  <a:pt x="144" y="142"/>
                  <a:pt x="144" y="142"/>
                  <a:pt x="144" y="142"/>
                </a:cubicBezTo>
                <a:cubicBezTo>
                  <a:pt x="147" y="142"/>
                  <a:pt x="150" y="144"/>
                  <a:pt x="150" y="148"/>
                </a:cubicBezTo>
                <a:cubicBezTo>
                  <a:pt x="150" y="155"/>
                  <a:pt x="156" y="161"/>
                  <a:pt x="162" y="162"/>
                </a:cubicBezTo>
                <a:cubicBezTo>
                  <a:pt x="167" y="163"/>
                  <a:pt x="172" y="160"/>
                  <a:pt x="175" y="156"/>
                </a:cubicBezTo>
                <a:cubicBezTo>
                  <a:pt x="176" y="154"/>
                  <a:pt x="177" y="151"/>
                  <a:pt x="177" y="149"/>
                </a:cubicBezTo>
                <a:cubicBezTo>
                  <a:pt x="177" y="45"/>
                  <a:pt x="177" y="45"/>
                  <a:pt x="177" y="45"/>
                </a:cubicBezTo>
                <a:cubicBezTo>
                  <a:pt x="177" y="42"/>
                  <a:pt x="176" y="38"/>
                  <a:pt x="175" y="34"/>
                </a:cubicBezTo>
                <a:cubicBezTo>
                  <a:pt x="170" y="21"/>
                  <a:pt x="158" y="12"/>
                  <a:pt x="144" y="12"/>
                </a:cubicBezTo>
                <a:cubicBezTo>
                  <a:pt x="46" y="12"/>
                  <a:pt x="46" y="12"/>
                  <a:pt x="46" y="12"/>
                </a:cubicBezTo>
                <a:cubicBezTo>
                  <a:pt x="32" y="12"/>
                  <a:pt x="19" y="21"/>
                  <a:pt x="15" y="34"/>
                </a:cubicBezTo>
                <a:cubicBezTo>
                  <a:pt x="13" y="38"/>
                  <a:pt x="13" y="42"/>
                  <a:pt x="13" y="45"/>
                </a:cubicBezTo>
                <a:cubicBezTo>
                  <a:pt x="13" y="149"/>
                  <a:pt x="13" y="149"/>
                  <a:pt x="13" y="149"/>
                </a:cubicBezTo>
                <a:cubicBezTo>
                  <a:pt x="13" y="151"/>
                  <a:pt x="13" y="154"/>
                  <a:pt x="15" y="156"/>
                </a:cubicBezTo>
                <a:cubicBezTo>
                  <a:pt x="17" y="160"/>
                  <a:pt x="22" y="163"/>
                  <a:pt x="27" y="162"/>
                </a:cubicBezTo>
                <a:cubicBezTo>
                  <a:pt x="34" y="161"/>
                  <a:pt x="39" y="155"/>
                  <a:pt x="39" y="148"/>
                </a:cubicBezTo>
                <a:cubicBezTo>
                  <a:pt x="39" y="144"/>
                  <a:pt x="42" y="142"/>
                  <a:pt x="46" y="142"/>
                </a:cubicBezTo>
                <a:cubicBezTo>
                  <a:pt x="49" y="142"/>
                  <a:pt x="52" y="144"/>
                  <a:pt x="52" y="148"/>
                </a:cubicBezTo>
                <a:cubicBezTo>
                  <a:pt x="52" y="306"/>
                  <a:pt x="52" y="306"/>
                  <a:pt x="52" y="306"/>
                </a:cubicBezTo>
                <a:cubicBezTo>
                  <a:pt x="52" y="316"/>
                  <a:pt x="60" y="324"/>
                  <a:pt x="70" y="324"/>
                </a:cubicBezTo>
                <a:cubicBezTo>
                  <a:pt x="80" y="324"/>
                  <a:pt x="89" y="316"/>
                  <a:pt x="89" y="306"/>
                </a:cubicBezTo>
                <a:cubicBezTo>
                  <a:pt x="89" y="302"/>
                  <a:pt x="91" y="299"/>
                  <a:pt x="95" y="2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2" name="Freeform 848">
            <a:extLst>
              <a:ext uri="{FF2B5EF4-FFF2-40B4-BE49-F238E27FC236}">
                <a16:creationId xmlns:a16="http://schemas.microsoft.com/office/drawing/2014/main" id="{DED54FFA-40DC-CA0C-58C5-118D9E650D55}"/>
              </a:ext>
            </a:extLst>
          </p:cNvPr>
          <p:cNvSpPr>
            <a:spLocks noEditPoints="1"/>
          </p:cNvSpPr>
          <p:nvPr/>
        </p:nvSpPr>
        <p:spPr bwMode="auto">
          <a:xfrm>
            <a:off x="9353918" y="2857077"/>
            <a:ext cx="76468" cy="77108"/>
          </a:xfrm>
          <a:custGeom>
            <a:avLst/>
            <a:gdLst>
              <a:gd name="T0" fmla="*/ 36 w 73"/>
              <a:gd name="T1" fmla="*/ 73 h 73"/>
              <a:gd name="T2" fmla="*/ 0 w 73"/>
              <a:gd name="T3" fmla="*/ 36 h 73"/>
              <a:gd name="T4" fmla="*/ 36 w 73"/>
              <a:gd name="T5" fmla="*/ 0 h 73"/>
              <a:gd name="T6" fmla="*/ 73 w 73"/>
              <a:gd name="T7" fmla="*/ 36 h 73"/>
              <a:gd name="T8" fmla="*/ 36 w 73"/>
              <a:gd name="T9" fmla="*/ 73 h 73"/>
              <a:gd name="T10" fmla="*/ 36 w 73"/>
              <a:gd name="T11" fmla="*/ 12 h 73"/>
              <a:gd name="T12" fmla="*/ 12 w 73"/>
              <a:gd name="T13" fmla="*/ 36 h 73"/>
              <a:gd name="T14" fmla="*/ 36 w 73"/>
              <a:gd name="T15" fmla="*/ 61 h 73"/>
              <a:gd name="T16" fmla="*/ 61 w 73"/>
              <a:gd name="T17" fmla="*/ 36 h 73"/>
              <a:gd name="T18" fmla="*/ 36 w 73"/>
              <a:gd name="T19" fmla="*/ 1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73">
                <a:moveTo>
                  <a:pt x="36" y="73"/>
                </a:moveTo>
                <a:cubicBezTo>
                  <a:pt x="16" y="73"/>
                  <a:pt x="0" y="5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57" y="0"/>
                  <a:pt x="73" y="16"/>
                  <a:pt x="73" y="36"/>
                </a:cubicBezTo>
                <a:cubicBezTo>
                  <a:pt x="73" y="56"/>
                  <a:pt x="57" y="73"/>
                  <a:pt x="36" y="73"/>
                </a:cubicBezTo>
                <a:close/>
                <a:moveTo>
                  <a:pt x="36" y="12"/>
                </a:moveTo>
                <a:cubicBezTo>
                  <a:pt x="23" y="12"/>
                  <a:pt x="12" y="23"/>
                  <a:pt x="12" y="36"/>
                </a:cubicBezTo>
                <a:cubicBezTo>
                  <a:pt x="12" y="50"/>
                  <a:pt x="23" y="61"/>
                  <a:pt x="36" y="61"/>
                </a:cubicBezTo>
                <a:cubicBezTo>
                  <a:pt x="50" y="61"/>
                  <a:pt x="61" y="50"/>
                  <a:pt x="61" y="36"/>
                </a:cubicBezTo>
                <a:cubicBezTo>
                  <a:pt x="61" y="23"/>
                  <a:pt x="50" y="12"/>
                  <a:pt x="3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3" name="Freeform 849">
            <a:extLst>
              <a:ext uri="{FF2B5EF4-FFF2-40B4-BE49-F238E27FC236}">
                <a16:creationId xmlns:a16="http://schemas.microsoft.com/office/drawing/2014/main" id="{43D2F25E-A12A-3658-2D7C-F8043F928A61}"/>
              </a:ext>
            </a:extLst>
          </p:cNvPr>
          <p:cNvSpPr>
            <a:spLocks/>
          </p:cNvSpPr>
          <p:nvPr/>
        </p:nvSpPr>
        <p:spPr bwMode="auto">
          <a:xfrm>
            <a:off x="9250685" y="3111531"/>
            <a:ext cx="11470" cy="138792"/>
          </a:xfrm>
          <a:custGeom>
            <a:avLst/>
            <a:gdLst>
              <a:gd name="T0" fmla="*/ 6 w 12"/>
              <a:gd name="T1" fmla="*/ 131 h 131"/>
              <a:gd name="T2" fmla="*/ 0 w 12"/>
              <a:gd name="T3" fmla="*/ 125 h 131"/>
              <a:gd name="T4" fmla="*/ 0 w 12"/>
              <a:gd name="T5" fmla="*/ 6 h 131"/>
              <a:gd name="T6" fmla="*/ 6 w 12"/>
              <a:gd name="T7" fmla="*/ 0 h 131"/>
              <a:gd name="T8" fmla="*/ 12 w 12"/>
              <a:gd name="T9" fmla="*/ 6 h 131"/>
              <a:gd name="T10" fmla="*/ 12 w 12"/>
              <a:gd name="T11" fmla="*/ 125 h 131"/>
              <a:gd name="T12" fmla="*/ 6 w 12"/>
              <a:gd name="T13" fmla="*/ 131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131">
                <a:moveTo>
                  <a:pt x="6" y="131"/>
                </a:moveTo>
                <a:cubicBezTo>
                  <a:pt x="2" y="131"/>
                  <a:pt x="0" y="128"/>
                  <a:pt x="0" y="12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125"/>
                  <a:pt x="12" y="125"/>
                  <a:pt x="12" y="125"/>
                </a:cubicBezTo>
                <a:cubicBezTo>
                  <a:pt x="12" y="128"/>
                  <a:pt x="9" y="131"/>
                  <a:pt x="6" y="1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4" name="Freeform 850">
            <a:extLst>
              <a:ext uri="{FF2B5EF4-FFF2-40B4-BE49-F238E27FC236}">
                <a16:creationId xmlns:a16="http://schemas.microsoft.com/office/drawing/2014/main" id="{146C9B74-C802-C0DB-9207-3463E61D70EC}"/>
              </a:ext>
            </a:extLst>
          </p:cNvPr>
          <p:cNvSpPr>
            <a:spLocks/>
          </p:cNvSpPr>
          <p:nvPr/>
        </p:nvSpPr>
        <p:spPr bwMode="auto">
          <a:xfrm>
            <a:off x="9197157" y="2984306"/>
            <a:ext cx="11470" cy="100238"/>
          </a:xfrm>
          <a:custGeom>
            <a:avLst/>
            <a:gdLst>
              <a:gd name="T0" fmla="*/ 7 w 13"/>
              <a:gd name="T1" fmla="*/ 93 h 93"/>
              <a:gd name="T2" fmla="*/ 0 w 13"/>
              <a:gd name="T3" fmla="*/ 87 h 93"/>
              <a:gd name="T4" fmla="*/ 0 w 13"/>
              <a:gd name="T5" fmla="*/ 6 h 93"/>
              <a:gd name="T6" fmla="*/ 7 w 13"/>
              <a:gd name="T7" fmla="*/ 0 h 93"/>
              <a:gd name="T8" fmla="*/ 13 w 13"/>
              <a:gd name="T9" fmla="*/ 6 h 93"/>
              <a:gd name="T10" fmla="*/ 13 w 13"/>
              <a:gd name="T11" fmla="*/ 87 h 93"/>
              <a:gd name="T12" fmla="*/ 7 w 13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93">
                <a:moveTo>
                  <a:pt x="7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10" y="0"/>
                  <a:pt x="13" y="3"/>
                  <a:pt x="13" y="6"/>
                </a:cubicBezTo>
                <a:cubicBezTo>
                  <a:pt x="13" y="87"/>
                  <a:pt x="13" y="87"/>
                  <a:pt x="13" y="87"/>
                </a:cubicBezTo>
                <a:cubicBezTo>
                  <a:pt x="13" y="90"/>
                  <a:pt x="10" y="93"/>
                  <a:pt x="7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5" name="Freeform 851">
            <a:extLst>
              <a:ext uri="{FF2B5EF4-FFF2-40B4-BE49-F238E27FC236}">
                <a16:creationId xmlns:a16="http://schemas.microsoft.com/office/drawing/2014/main" id="{7983F722-30FA-AF1D-070B-72ED044D8A79}"/>
              </a:ext>
            </a:extLst>
          </p:cNvPr>
          <p:cNvSpPr>
            <a:spLocks/>
          </p:cNvSpPr>
          <p:nvPr/>
        </p:nvSpPr>
        <p:spPr bwMode="auto">
          <a:xfrm>
            <a:off x="9300390" y="2984306"/>
            <a:ext cx="15294" cy="100238"/>
          </a:xfrm>
          <a:custGeom>
            <a:avLst/>
            <a:gdLst>
              <a:gd name="T0" fmla="*/ 6 w 12"/>
              <a:gd name="T1" fmla="*/ 93 h 93"/>
              <a:gd name="T2" fmla="*/ 0 w 12"/>
              <a:gd name="T3" fmla="*/ 87 h 93"/>
              <a:gd name="T4" fmla="*/ 0 w 12"/>
              <a:gd name="T5" fmla="*/ 6 h 93"/>
              <a:gd name="T6" fmla="*/ 6 w 12"/>
              <a:gd name="T7" fmla="*/ 0 h 93"/>
              <a:gd name="T8" fmla="*/ 12 w 12"/>
              <a:gd name="T9" fmla="*/ 6 h 93"/>
              <a:gd name="T10" fmla="*/ 12 w 12"/>
              <a:gd name="T11" fmla="*/ 87 h 93"/>
              <a:gd name="T12" fmla="*/ 6 w 12"/>
              <a:gd name="T13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93">
                <a:moveTo>
                  <a:pt x="6" y="93"/>
                </a:moveTo>
                <a:cubicBezTo>
                  <a:pt x="3" y="93"/>
                  <a:pt x="0" y="90"/>
                  <a:pt x="0" y="8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87"/>
                  <a:pt x="12" y="87"/>
                  <a:pt x="12" y="87"/>
                </a:cubicBezTo>
                <a:cubicBezTo>
                  <a:pt x="12" y="90"/>
                  <a:pt x="9" y="93"/>
                  <a:pt x="6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86" name="Shape8_20220427_135811">
            <a:extLst>
              <a:ext uri="{FF2B5EF4-FFF2-40B4-BE49-F238E27FC236}">
                <a16:creationId xmlns:a16="http://schemas.microsoft.com/office/drawing/2014/main" id="{95EFC815-10EF-AD5F-8464-120624105028}"/>
              </a:ext>
            </a:extLst>
          </p:cNvPr>
          <p:cNvSpPr txBox="1">
            <a:spLocks/>
          </p:cNvSpPr>
          <p:nvPr/>
        </p:nvSpPr>
        <p:spPr>
          <a:xfrm>
            <a:off x="6276489" y="51801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87" name="Shape9_20220427_135811">
            <a:extLst>
              <a:ext uri="{FF2B5EF4-FFF2-40B4-BE49-F238E27FC236}">
                <a16:creationId xmlns:a16="http://schemas.microsoft.com/office/drawing/2014/main" id="{A11C684A-8148-5299-4980-1EC544B80BCA}"/>
              </a:ext>
            </a:extLst>
          </p:cNvPr>
          <p:cNvSpPr txBox="1">
            <a:spLocks/>
          </p:cNvSpPr>
          <p:nvPr/>
        </p:nvSpPr>
        <p:spPr>
          <a:xfrm>
            <a:off x="6276489" y="5410048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88" name="Shape0_20221012_144847">
            <a:extLst>
              <a:ext uri="{FF2B5EF4-FFF2-40B4-BE49-F238E27FC236}">
                <a16:creationId xmlns:a16="http://schemas.microsoft.com/office/drawing/2014/main" id="{798E7FBC-31B6-22C5-6E7D-9AE4C270C581}"/>
              </a:ext>
            </a:extLst>
          </p:cNvPr>
          <p:cNvSpPr/>
          <p:nvPr/>
        </p:nvSpPr>
        <p:spPr>
          <a:xfrm>
            <a:off x="5168003" y="4958847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prstClr val="white"/>
              </a:solidFill>
            </a:endParaRPr>
          </a:p>
        </p:txBody>
      </p:sp>
      <p:sp>
        <p:nvSpPr>
          <p:cNvPr id="89" name="Shape10_20220427_135811">
            <a:extLst>
              <a:ext uri="{FF2B5EF4-FFF2-40B4-BE49-F238E27FC236}">
                <a16:creationId xmlns:a16="http://schemas.microsoft.com/office/drawing/2014/main" id="{C19AA1E2-9A71-677C-36FC-68FDCADFBA4C}"/>
              </a:ext>
            </a:extLst>
          </p:cNvPr>
          <p:cNvSpPr txBox="1">
            <a:spLocks/>
          </p:cNvSpPr>
          <p:nvPr/>
        </p:nvSpPr>
        <p:spPr>
          <a:xfrm>
            <a:off x="9936937" y="5180127"/>
            <a:ext cx="1843875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90" name="Shape11_20220427_135811">
            <a:extLst>
              <a:ext uri="{FF2B5EF4-FFF2-40B4-BE49-F238E27FC236}">
                <a16:creationId xmlns:a16="http://schemas.microsoft.com/office/drawing/2014/main" id="{D88680BF-D6C1-729E-3104-1C08468496B2}"/>
              </a:ext>
            </a:extLst>
          </p:cNvPr>
          <p:cNvSpPr txBox="1">
            <a:spLocks/>
          </p:cNvSpPr>
          <p:nvPr/>
        </p:nvSpPr>
        <p:spPr>
          <a:xfrm>
            <a:off x="9936937" y="5410048"/>
            <a:ext cx="184387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1427">
              <a:spcBef>
                <a:spcPct val="0"/>
              </a:spcBef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1" name="Shape5_20221012_144847">
            <a:extLst>
              <a:ext uri="{FF2B5EF4-FFF2-40B4-BE49-F238E27FC236}">
                <a16:creationId xmlns:a16="http://schemas.microsoft.com/office/drawing/2014/main" id="{C5C5C959-A293-1A00-B779-B365EC652715}"/>
              </a:ext>
            </a:extLst>
          </p:cNvPr>
          <p:cNvSpPr/>
          <p:nvPr/>
        </p:nvSpPr>
        <p:spPr>
          <a:xfrm>
            <a:off x="8828446" y="4958847"/>
            <a:ext cx="855949" cy="85594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</a:rPr>
              <a:t> </a:t>
            </a:r>
            <a:endParaRPr lang="en-IN" sz="1400" dirty="0">
              <a:solidFill>
                <a:srgbClr val="000000"/>
              </a:solidFill>
            </a:endParaRPr>
          </a:p>
        </p:txBody>
      </p:sp>
      <p:sp>
        <p:nvSpPr>
          <p:cNvPr id="92" name="Freeform 44">
            <a:extLst>
              <a:ext uri="{FF2B5EF4-FFF2-40B4-BE49-F238E27FC236}">
                <a16:creationId xmlns:a16="http://schemas.microsoft.com/office/drawing/2014/main" id="{F753F9FE-8C80-3745-DA68-113743AB9C35}"/>
              </a:ext>
            </a:extLst>
          </p:cNvPr>
          <p:cNvSpPr>
            <a:spLocks noEditPoints="1"/>
          </p:cNvSpPr>
          <p:nvPr/>
        </p:nvSpPr>
        <p:spPr bwMode="auto">
          <a:xfrm>
            <a:off x="5477106" y="5269807"/>
            <a:ext cx="234029" cy="234032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3" name="Freeform 45">
            <a:extLst>
              <a:ext uri="{FF2B5EF4-FFF2-40B4-BE49-F238E27FC236}">
                <a16:creationId xmlns:a16="http://schemas.microsoft.com/office/drawing/2014/main" id="{5255CBD9-5DB4-8D4B-DE9E-0A734A515921}"/>
              </a:ext>
            </a:extLst>
          </p:cNvPr>
          <p:cNvSpPr>
            <a:spLocks noEditPoints="1"/>
          </p:cNvSpPr>
          <p:nvPr/>
        </p:nvSpPr>
        <p:spPr bwMode="auto">
          <a:xfrm>
            <a:off x="5373091" y="5165792"/>
            <a:ext cx="445770" cy="442059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4" name="Freeform 933">
            <a:extLst>
              <a:ext uri="{FF2B5EF4-FFF2-40B4-BE49-F238E27FC236}">
                <a16:creationId xmlns:a16="http://schemas.microsoft.com/office/drawing/2014/main" id="{8ED14F67-D867-96CC-1AC1-4C2CD7D1BF14}"/>
              </a:ext>
            </a:extLst>
          </p:cNvPr>
          <p:cNvSpPr>
            <a:spLocks/>
          </p:cNvSpPr>
          <p:nvPr/>
        </p:nvSpPr>
        <p:spPr bwMode="auto">
          <a:xfrm>
            <a:off x="9128338" y="5467999"/>
            <a:ext cx="18041" cy="117262"/>
          </a:xfrm>
          <a:custGeom>
            <a:avLst/>
            <a:gdLst>
              <a:gd name="T0" fmla="*/ 6 w 15"/>
              <a:gd name="T1" fmla="*/ 99 h 99"/>
              <a:gd name="T2" fmla="*/ 5 w 15"/>
              <a:gd name="T3" fmla="*/ 99 h 99"/>
              <a:gd name="T4" fmla="*/ 0 w 15"/>
              <a:gd name="T5" fmla="*/ 93 h 99"/>
              <a:gd name="T6" fmla="*/ 4 w 15"/>
              <a:gd name="T7" fmla="*/ 6 h 99"/>
              <a:gd name="T8" fmla="*/ 9 w 15"/>
              <a:gd name="T9" fmla="*/ 0 h 99"/>
              <a:gd name="T10" fmla="*/ 15 w 15"/>
              <a:gd name="T11" fmla="*/ 6 h 99"/>
              <a:gd name="T12" fmla="*/ 11 w 15"/>
              <a:gd name="T13" fmla="*/ 94 h 99"/>
              <a:gd name="T14" fmla="*/ 6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6" y="99"/>
                </a:moveTo>
                <a:cubicBezTo>
                  <a:pt x="6" y="99"/>
                  <a:pt x="6" y="99"/>
                  <a:pt x="5" y="99"/>
                </a:cubicBezTo>
                <a:cubicBezTo>
                  <a:pt x="2" y="99"/>
                  <a:pt x="0" y="96"/>
                  <a:pt x="0" y="93"/>
                </a:cubicBezTo>
                <a:cubicBezTo>
                  <a:pt x="4" y="6"/>
                  <a:pt x="4" y="6"/>
                  <a:pt x="4" y="6"/>
                </a:cubicBezTo>
                <a:cubicBezTo>
                  <a:pt x="4" y="3"/>
                  <a:pt x="6" y="0"/>
                  <a:pt x="9" y="0"/>
                </a:cubicBezTo>
                <a:cubicBezTo>
                  <a:pt x="13" y="1"/>
                  <a:pt x="15" y="3"/>
                  <a:pt x="15" y="6"/>
                </a:cubicBezTo>
                <a:cubicBezTo>
                  <a:pt x="11" y="94"/>
                  <a:pt x="11" y="94"/>
                  <a:pt x="11" y="94"/>
                </a:cubicBezTo>
                <a:cubicBezTo>
                  <a:pt x="11" y="97"/>
                  <a:pt x="9" y="99"/>
                  <a:pt x="6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5" name="Freeform 934">
            <a:extLst>
              <a:ext uri="{FF2B5EF4-FFF2-40B4-BE49-F238E27FC236}">
                <a16:creationId xmlns:a16="http://schemas.microsoft.com/office/drawing/2014/main" id="{2167CC87-1F31-9CD1-90F1-A8C142733451}"/>
              </a:ext>
            </a:extLst>
          </p:cNvPr>
          <p:cNvSpPr>
            <a:spLocks/>
          </p:cNvSpPr>
          <p:nvPr/>
        </p:nvSpPr>
        <p:spPr bwMode="auto">
          <a:xfrm>
            <a:off x="9366468" y="5467999"/>
            <a:ext cx="16235" cy="117262"/>
          </a:xfrm>
          <a:custGeom>
            <a:avLst/>
            <a:gdLst>
              <a:gd name="T0" fmla="*/ 9 w 15"/>
              <a:gd name="T1" fmla="*/ 99 h 99"/>
              <a:gd name="T2" fmla="*/ 4 w 15"/>
              <a:gd name="T3" fmla="*/ 94 h 99"/>
              <a:gd name="T4" fmla="*/ 0 w 15"/>
              <a:gd name="T5" fmla="*/ 6 h 99"/>
              <a:gd name="T6" fmla="*/ 5 w 15"/>
              <a:gd name="T7" fmla="*/ 0 h 99"/>
              <a:gd name="T8" fmla="*/ 11 w 15"/>
              <a:gd name="T9" fmla="*/ 6 h 99"/>
              <a:gd name="T10" fmla="*/ 15 w 15"/>
              <a:gd name="T11" fmla="*/ 93 h 99"/>
              <a:gd name="T12" fmla="*/ 9 w 15"/>
              <a:gd name="T13" fmla="*/ 99 h 99"/>
              <a:gd name="T14" fmla="*/ 9 w 15"/>
              <a:gd name="T15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99">
                <a:moveTo>
                  <a:pt x="9" y="99"/>
                </a:moveTo>
                <a:cubicBezTo>
                  <a:pt x="6" y="99"/>
                  <a:pt x="4" y="97"/>
                  <a:pt x="4" y="94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1"/>
                  <a:pt x="5" y="0"/>
                </a:cubicBezTo>
                <a:cubicBezTo>
                  <a:pt x="8" y="0"/>
                  <a:pt x="11" y="3"/>
                  <a:pt x="11" y="6"/>
                </a:cubicBezTo>
                <a:cubicBezTo>
                  <a:pt x="15" y="93"/>
                  <a:pt x="15" y="93"/>
                  <a:pt x="15" y="93"/>
                </a:cubicBezTo>
                <a:cubicBezTo>
                  <a:pt x="15" y="96"/>
                  <a:pt x="12" y="99"/>
                  <a:pt x="9" y="99"/>
                </a:cubicBezTo>
                <a:cubicBezTo>
                  <a:pt x="9" y="99"/>
                  <a:pt x="9" y="99"/>
                  <a:pt x="9" y="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6" name="Freeform 935">
            <a:extLst>
              <a:ext uri="{FF2B5EF4-FFF2-40B4-BE49-F238E27FC236}">
                <a16:creationId xmlns:a16="http://schemas.microsoft.com/office/drawing/2014/main" id="{BD25A80F-E26B-B9C5-13C5-21FA9E312CE2}"/>
              </a:ext>
            </a:extLst>
          </p:cNvPr>
          <p:cNvSpPr>
            <a:spLocks noEditPoints="1"/>
          </p:cNvSpPr>
          <p:nvPr/>
        </p:nvSpPr>
        <p:spPr bwMode="auto">
          <a:xfrm>
            <a:off x="9056178" y="5379601"/>
            <a:ext cx="400491" cy="205655"/>
          </a:xfrm>
          <a:custGeom>
            <a:avLst/>
            <a:gdLst>
              <a:gd name="T0" fmla="*/ 307 w 340"/>
              <a:gd name="T1" fmla="*/ 174 h 174"/>
              <a:gd name="T2" fmla="*/ 33 w 340"/>
              <a:gd name="T3" fmla="*/ 174 h 174"/>
              <a:gd name="T4" fmla="*/ 9 w 340"/>
              <a:gd name="T5" fmla="*/ 163 h 174"/>
              <a:gd name="T6" fmla="*/ 1 w 340"/>
              <a:gd name="T7" fmla="*/ 138 h 174"/>
              <a:gd name="T8" fmla="*/ 11 w 340"/>
              <a:gd name="T9" fmla="*/ 43 h 174"/>
              <a:gd name="T10" fmla="*/ 62 w 340"/>
              <a:gd name="T11" fmla="*/ 0 h 174"/>
              <a:gd name="T12" fmla="*/ 143 w 340"/>
              <a:gd name="T13" fmla="*/ 0 h 174"/>
              <a:gd name="T14" fmla="*/ 147 w 340"/>
              <a:gd name="T15" fmla="*/ 1 h 174"/>
              <a:gd name="T16" fmla="*/ 149 w 340"/>
              <a:gd name="T17" fmla="*/ 6 h 174"/>
              <a:gd name="T18" fmla="*/ 148 w 340"/>
              <a:gd name="T19" fmla="*/ 12 h 174"/>
              <a:gd name="T20" fmla="*/ 153 w 340"/>
              <a:gd name="T21" fmla="*/ 30 h 174"/>
              <a:gd name="T22" fmla="*/ 170 w 340"/>
              <a:gd name="T23" fmla="*/ 38 h 174"/>
              <a:gd name="T24" fmla="*/ 187 w 340"/>
              <a:gd name="T25" fmla="*/ 30 h 174"/>
              <a:gd name="T26" fmla="*/ 192 w 340"/>
              <a:gd name="T27" fmla="*/ 12 h 174"/>
              <a:gd name="T28" fmla="*/ 191 w 340"/>
              <a:gd name="T29" fmla="*/ 6 h 174"/>
              <a:gd name="T30" fmla="*/ 192 w 340"/>
              <a:gd name="T31" fmla="*/ 1 h 174"/>
              <a:gd name="T32" fmla="*/ 197 w 340"/>
              <a:gd name="T33" fmla="*/ 0 h 174"/>
              <a:gd name="T34" fmla="*/ 278 w 340"/>
              <a:gd name="T35" fmla="*/ 0 h 174"/>
              <a:gd name="T36" fmla="*/ 328 w 340"/>
              <a:gd name="T37" fmla="*/ 43 h 174"/>
              <a:gd name="T38" fmla="*/ 339 w 340"/>
              <a:gd name="T39" fmla="*/ 138 h 174"/>
              <a:gd name="T40" fmla="*/ 331 w 340"/>
              <a:gd name="T41" fmla="*/ 163 h 174"/>
              <a:gd name="T42" fmla="*/ 307 w 340"/>
              <a:gd name="T43" fmla="*/ 174 h 174"/>
              <a:gd name="T44" fmla="*/ 62 w 340"/>
              <a:gd name="T45" fmla="*/ 11 h 174"/>
              <a:gd name="T46" fmla="*/ 22 w 340"/>
              <a:gd name="T47" fmla="*/ 45 h 174"/>
              <a:gd name="T48" fmla="*/ 12 w 340"/>
              <a:gd name="T49" fmla="*/ 140 h 174"/>
              <a:gd name="T50" fmla="*/ 17 w 340"/>
              <a:gd name="T51" fmla="*/ 156 h 174"/>
              <a:gd name="T52" fmla="*/ 33 w 340"/>
              <a:gd name="T53" fmla="*/ 163 h 174"/>
              <a:gd name="T54" fmla="*/ 307 w 340"/>
              <a:gd name="T55" fmla="*/ 163 h 174"/>
              <a:gd name="T56" fmla="*/ 323 w 340"/>
              <a:gd name="T57" fmla="*/ 156 h 174"/>
              <a:gd name="T58" fmla="*/ 328 w 340"/>
              <a:gd name="T59" fmla="*/ 140 h 174"/>
              <a:gd name="T60" fmla="*/ 318 w 340"/>
              <a:gd name="T61" fmla="*/ 44 h 174"/>
              <a:gd name="T62" fmla="*/ 278 w 340"/>
              <a:gd name="T63" fmla="*/ 11 h 174"/>
              <a:gd name="T64" fmla="*/ 203 w 340"/>
              <a:gd name="T65" fmla="*/ 11 h 174"/>
              <a:gd name="T66" fmla="*/ 203 w 340"/>
              <a:gd name="T67" fmla="*/ 11 h 174"/>
              <a:gd name="T68" fmla="*/ 195 w 340"/>
              <a:gd name="T69" fmla="*/ 37 h 174"/>
              <a:gd name="T70" fmla="*/ 170 w 340"/>
              <a:gd name="T71" fmla="*/ 49 h 174"/>
              <a:gd name="T72" fmla="*/ 170 w 340"/>
              <a:gd name="T73" fmla="*/ 49 h 174"/>
              <a:gd name="T74" fmla="*/ 144 w 340"/>
              <a:gd name="T75" fmla="*/ 37 h 174"/>
              <a:gd name="T76" fmla="*/ 137 w 340"/>
              <a:gd name="T77" fmla="*/ 11 h 174"/>
              <a:gd name="T78" fmla="*/ 137 w 340"/>
              <a:gd name="T79" fmla="*/ 11 h 174"/>
              <a:gd name="T80" fmla="*/ 62 w 340"/>
              <a:gd name="T81" fmla="*/ 11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40" h="174">
                <a:moveTo>
                  <a:pt x="307" y="174"/>
                </a:moveTo>
                <a:cubicBezTo>
                  <a:pt x="33" y="174"/>
                  <a:pt x="33" y="174"/>
                  <a:pt x="33" y="174"/>
                </a:cubicBezTo>
                <a:cubicBezTo>
                  <a:pt x="24" y="174"/>
                  <a:pt x="15" y="170"/>
                  <a:pt x="9" y="163"/>
                </a:cubicBezTo>
                <a:cubicBezTo>
                  <a:pt x="3" y="156"/>
                  <a:pt x="0" y="147"/>
                  <a:pt x="1" y="138"/>
                </a:cubicBezTo>
                <a:cubicBezTo>
                  <a:pt x="11" y="43"/>
                  <a:pt x="11" y="43"/>
                  <a:pt x="11" y="43"/>
                </a:cubicBezTo>
                <a:cubicBezTo>
                  <a:pt x="15" y="18"/>
                  <a:pt x="36" y="0"/>
                  <a:pt x="62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5" y="0"/>
                  <a:pt x="146" y="0"/>
                  <a:pt x="147" y="1"/>
                </a:cubicBezTo>
                <a:cubicBezTo>
                  <a:pt x="148" y="3"/>
                  <a:pt x="149" y="4"/>
                  <a:pt x="149" y="6"/>
                </a:cubicBezTo>
                <a:cubicBezTo>
                  <a:pt x="148" y="12"/>
                  <a:pt x="148" y="12"/>
                  <a:pt x="148" y="12"/>
                </a:cubicBezTo>
                <a:cubicBezTo>
                  <a:pt x="147" y="18"/>
                  <a:pt x="150" y="27"/>
                  <a:pt x="153" y="30"/>
                </a:cubicBezTo>
                <a:cubicBezTo>
                  <a:pt x="157" y="35"/>
                  <a:pt x="163" y="38"/>
                  <a:pt x="170" y="38"/>
                </a:cubicBezTo>
                <a:cubicBezTo>
                  <a:pt x="176" y="38"/>
                  <a:pt x="183" y="35"/>
                  <a:pt x="187" y="30"/>
                </a:cubicBezTo>
                <a:cubicBezTo>
                  <a:pt x="190" y="27"/>
                  <a:pt x="192" y="18"/>
                  <a:pt x="192" y="12"/>
                </a:cubicBezTo>
                <a:cubicBezTo>
                  <a:pt x="191" y="6"/>
                  <a:pt x="191" y="6"/>
                  <a:pt x="191" y="6"/>
                </a:cubicBezTo>
                <a:cubicBezTo>
                  <a:pt x="191" y="4"/>
                  <a:pt x="191" y="3"/>
                  <a:pt x="192" y="1"/>
                </a:cubicBezTo>
                <a:cubicBezTo>
                  <a:pt x="193" y="0"/>
                  <a:pt x="195" y="0"/>
                  <a:pt x="197" y="0"/>
                </a:cubicBezTo>
                <a:cubicBezTo>
                  <a:pt x="278" y="0"/>
                  <a:pt x="278" y="0"/>
                  <a:pt x="278" y="0"/>
                </a:cubicBezTo>
                <a:cubicBezTo>
                  <a:pt x="303" y="0"/>
                  <a:pt x="325" y="18"/>
                  <a:pt x="328" y="43"/>
                </a:cubicBezTo>
                <a:cubicBezTo>
                  <a:pt x="339" y="138"/>
                  <a:pt x="339" y="138"/>
                  <a:pt x="339" y="138"/>
                </a:cubicBezTo>
                <a:cubicBezTo>
                  <a:pt x="340" y="147"/>
                  <a:pt x="337" y="156"/>
                  <a:pt x="331" y="163"/>
                </a:cubicBezTo>
                <a:cubicBezTo>
                  <a:pt x="325" y="170"/>
                  <a:pt x="316" y="174"/>
                  <a:pt x="307" y="174"/>
                </a:cubicBezTo>
                <a:close/>
                <a:moveTo>
                  <a:pt x="62" y="11"/>
                </a:moveTo>
                <a:cubicBezTo>
                  <a:pt x="42" y="11"/>
                  <a:pt x="25" y="25"/>
                  <a:pt x="22" y="45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1" y="145"/>
                  <a:pt x="13" y="151"/>
                  <a:pt x="17" y="156"/>
                </a:cubicBezTo>
                <a:cubicBezTo>
                  <a:pt x="21" y="160"/>
                  <a:pt x="27" y="163"/>
                  <a:pt x="33" y="163"/>
                </a:cubicBezTo>
                <a:cubicBezTo>
                  <a:pt x="307" y="163"/>
                  <a:pt x="307" y="163"/>
                  <a:pt x="307" y="163"/>
                </a:cubicBezTo>
                <a:cubicBezTo>
                  <a:pt x="313" y="163"/>
                  <a:pt x="319" y="160"/>
                  <a:pt x="323" y="156"/>
                </a:cubicBezTo>
                <a:cubicBezTo>
                  <a:pt x="327" y="151"/>
                  <a:pt x="328" y="145"/>
                  <a:pt x="328" y="140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5" y="25"/>
                  <a:pt x="298" y="11"/>
                  <a:pt x="278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4" y="20"/>
                  <a:pt x="200" y="31"/>
                  <a:pt x="195" y="37"/>
                </a:cubicBezTo>
                <a:cubicBezTo>
                  <a:pt x="189" y="45"/>
                  <a:pt x="180" y="49"/>
                  <a:pt x="170" y="49"/>
                </a:cubicBezTo>
                <a:cubicBezTo>
                  <a:pt x="170" y="49"/>
                  <a:pt x="170" y="49"/>
                  <a:pt x="170" y="49"/>
                </a:cubicBezTo>
                <a:cubicBezTo>
                  <a:pt x="160" y="49"/>
                  <a:pt x="151" y="45"/>
                  <a:pt x="144" y="37"/>
                </a:cubicBezTo>
                <a:cubicBezTo>
                  <a:pt x="139" y="31"/>
                  <a:pt x="136" y="20"/>
                  <a:pt x="137" y="11"/>
                </a:cubicBezTo>
                <a:cubicBezTo>
                  <a:pt x="137" y="11"/>
                  <a:pt x="137" y="11"/>
                  <a:pt x="137" y="11"/>
                </a:cubicBezTo>
                <a:lnTo>
                  <a:pt x="62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7" name="Freeform 936">
            <a:extLst>
              <a:ext uri="{FF2B5EF4-FFF2-40B4-BE49-F238E27FC236}">
                <a16:creationId xmlns:a16="http://schemas.microsoft.com/office/drawing/2014/main" id="{22321714-85C7-BF85-156F-CB07BEDF29E6}"/>
              </a:ext>
            </a:extLst>
          </p:cNvPr>
          <p:cNvSpPr>
            <a:spLocks noEditPoints="1"/>
          </p:cNvSpPr>
          <p:nvPr/>
        </p:nvSpPr>
        <p:spPr bwMode="auto">
          <a:xfrm>
            <a:off x="9216735" y="5348933"/>
            <a:ext cx="79377" cy="88396"/>
          </a:xfrm>
          <a:custGeom>
            <a:avLst/>
            <a:gdLst>
              <a:gd name="T0" fmla="*/ 34 w 68"/>
              <a:gd name="T1" fmla="*/ 76 h 76"/>
              <a:gd name="T2" fmla="*/ 10 w 68"/>
              <a:gd name="T3" fmla="*/ 67 h 76"/>
              <a:gd name="T4" fmla="*/ 1 w 68"/>
              <a:gd name="T5" fmla="*/ 39 h 76"/>
              <a:gd name="T6" fmla="*/ 5 w 68"/>
              <a:gd name="T7" fmla="*/ 5 h 76"/>
              <a:gd name="T8" fmla="*/ 7 w 68"/>
              <a:gd name="T9" fmla="*/ 1 h 76"/>
              <a:gd name="T10" fmla="*/ 12 w 68"/>
              <a:gd name="T11" fmla="*/ 0 h 76"/>
              <a:gd name="T12" fmla="*/ 27 w 68"/>
              <a:gd name="T13" fmla="*/ 2 h 76"/>
              <a:gd name="T14" fmla="*/ 40 w 68"/>
              <a:gd name="T15" fmla="*/ 2 h 76"/>
              <a:gd name="T16" fmla="*/ 56 w 68"/>
              <a:gd name="T17" fmla="*/ 0 h 76"/>
              <a:gd name="T18" fmla="*/ 61 w 68"/>
              <a:gd name="T19" fmla="*/ 1 h 76"/>
              <a:gd name="T20" fmla="*/ 63 w 68"/>
              <a:gd name="T21" fmla="*/ 5 h 76"/>
              <a:gd name="T22" fmla="*/ 67 w 68"/>
              <a:gd name="T23" fmla="*/ 39 h 76"/>
              <a:gd name="T24" fmla="*/ 67 w 68"/>
              <a:gd name="T25" fmla="*/ 39 h 76"/>
              <a:gd name="T26" fmla="*/ 57 w 68"/>
              <a:gd name="T27" fmla="*/ 67 h 76"/>
              <a:gd name="T28" fmla="*/ 34 w 68"/>
              <a:gd name="T29" fmla="*/ 76 h 76"/>
              <a:gd name="T30" fmla="*/ 15 w 68"/>
              <a:gd name="T31" fmla="*/ 12 h 76"/>
              <a:gd name="T32" fmla="*/ 12 w 68"/>
              <a:gd name="T33" fmla="*/ 41 h 76"/>
              <a:gd name="T34" fmla="*/ 18 w 68"/>
              <a:gd name="T35" fmla="*/ 59 h 76"/>
              <a:gd name="T36" fmla="*/ 50 w 68"/>
              <a:gd name="T37" fmla="*/ 59 h 76"/>
              <a:gd name="T38" fmla="*/ 56 w 68"/>
              <a:gd name="T39" fmla="*/ 41 h 76"/>
              <a:gd name="T40" fmla="*/ 56 w 68"/>
              <a:gd name="T41" fmla="*/ 41 h 76"/>
              <a:gd name="T42" fmla="*/ 53 w 68"/>
              <a:gd name="T43" fmla="*/ 12 h 76"/>
              <a:gd name="T44" fmla="*/ 40 w 68"/>
              <a:gd name="T45" fmla="*/ 13 h 76"/>
              <a:gd name="T46" fmla="*/ 27 w 68"/>
              <a:gd name="T47" fmla="*/ 13 h 76"/>
              <a:gd name="T48" fmla="*/ 15 w 68"/>
              <a:gd name="T49" fmla="*/ 12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8" h="76">
                <a:moveTo>
                  <a:pt x="34" y="76"/>
                </a:moveTo>
                <a:cubicBezTo>
                  <a:pt x="25" y="76"/>
                  <a:pt x="17" y="73"/>
                  <a:pt x="10" y="67"/>
                </a:cubicBezTo>
                <a:cubicBezTo>
                  <a:pt x="3" y="59"/>
                  <a:pt x="0" y="49"/>
                  <a:pt x="1" y="39"/>
                </a:cubicBezTo>
                <a:cubicBezTo>
                  <a:pt x="5" y="5"/>
                  <a:pt x="5" y="5"/>
                  <a:pt x="5" y="5"/>
                </a:cubicBezTo>
                <a:cubicBezTo>
                  <a:pt x="5" y="3"/>
                  <a:pt x="6" y="2"/>
                  <a:pt x="7" y="1"/>
                </a:cubicBezTo>
                <a:cubicBezTo>
                  <a:pt x="8" y="0"/>
                  <a:pt x="10" y="0"/>
                  <a:pt x="12" y="0"/>
                </a:cubicBezTo>
                <a:cubicBezTo>
                  <a:pt x="17" y="2"/>
                  <a:pt x="22" y="2"/>
                  <a:pt x="27" y="2"/>
                </a:cubicBezTo>
                <a:cubicBezTo>
                  <a:pt x="40" y="2"/>
                  <a:pt x="40" y="2"/>
                  <a:pt x="40" y="2"/>
                </a:cubicBezTo>
                <a:cubicBezTo>
                  <a:pt x="46" y="2"/>
                  <a:pt x="51" y="2"/>
                  <a:pt x="56" y="0"/>
                </a:cubicBezTo>
                <a:cubicBezTo>
                  <a:pt x="58" y="0"/>
                  <a:pt x="59" y="0"/>
                  <a:pt x="61" y="1"/>
                </a:cubicBezTo>
                <a:cubicBezTo>
                  <a:pt x="62" y="2"/>
                  <a:pt x="63" y="3"/>
                  <a:pt x="63" y="5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8" y="49"/>
                  <a:pt x="65" y="59"/>
                  <a:pt x="57" y="67"/>
                </a:cubicBezTo>
                <a:cubicBezTo>
                  <a:pt x="51" y="73"/>
                  <a:pt x="42" y="76"/>
                  <a:pt x="34" y="76"/>
                </a:cubicBezTo>
                <a:close/>
                <a:moveTo>
                  <a:pt x="15" y="12"/>
                </a:moveTo>
                <a:cubicBezTo>
                  <a:pt x="12" y="41"/>
                  <a:pt x="12" y="41"/>
                  <a:pt x="12" y="41"/>
                </a:cubicBezTo>
                <a:cubicBezTo>
                  <a:pt x="11" y="47"/>
                  <a:pt x="13" y="54"/>
                  <a:pt x="18" y="59"/>
                </a:cubicBezTo>
                <a:cubicBezTo>
                  <a:pt x="27" y="67"/>
                  <a:pt x="41" y="67"/>
                  <a:pt x="50" y="59"/>
                </a:cubicBezTo>
                <a:cubicBezTo>
                  <a:pt x="54" y="54"/>
                  <a:pt x="57" y="47"/>
                  <a:pt x="56" y="41"/>
                </a:cubicBezTo>
                <a:cubicBezTo>
                  <a:pt x="56" y="41"/>
                  <a:pt x="56" y="41"/>
                  <a:pt x="56" y="41"/>
                </a:cubicBezTo>
                <a:cubicBezTo>
                  <a:pt x="53" y="12"/>
                  <a:pt x="53" y="12"/>
                  <a:pt x="53" y="12"/>
                </a:cubicBezTo>
                <a:cubicBezTo>
                  <a:pt x="49" y="13"/>
                  <a:pt x="44" y="13"/>
                  <a:pt x="40" y="13"/>
                </a:cubicBezTo>
                <a:cubicBezTo>
                  <a:pt x="27" y="13"/>
                  <a:pt x="27" y="13"/>
                  <a:pt x="27" y="13"/>
                </a:cubicBezTo>
                <a:cubicBezTo>
                  <a:pt x="23" y="13"/>
                  <a:pt x="19" y="13"/>
                  <a:pt x="15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8" name="Freeform 937">
            <a:extLst>
              <a:ext uri="{FF2B5EF4-FFF2-40B4-BE49-F238E27FC236}">
                <a16:creationId xmlns:a16="http://schemas.microsoft.com/office/drawing/2014/main" id="{61247B13-5B3D-3B6E-590B-E6ACF8911A77}"/>
              </a:ext>
            </a:extLst>
          </p:cNvPr>
          <p:cNvSpPr>
            <a:spLocks noEditPoints="1"/>
          </p:cNvSpPr>
          <p:nvPr/>
        </p:nvSpPr>
        <p:spPr bwMode="auto">
          <a:xfrm>
            <a:off x="9168026" y="5188377"/>
            <a:ext cx="174991" cy="174991"/>
          </a:xfrm>
          <a:custGeom>
            <a:avLst/>
            <a:gdLst>
              <a:gd name="T0" fmla="*/ 81 w 149"/>
              <a:gd name="T1" fmla="*/ 149 h 149"/>
              <a:gd name="T2" fmla="*/ 68 w 149"/>
              <a:gd name="T3" fmla="*/ 149 h 149"/>
              <a:gd name="T4" fmla="*/ 50 w 149"/>
              <a:gd name="T5" fmla="*/ 147 h 149"/>
              <a:gd name="T6" fmla="*/ 0 w 149"/>
              <a:gd name="T7" fmla="*/ 81 h 149"/>
              <a:gd name="T8" fmla="*/ 0 w 149"/>
              <a:gd name="T9" fmla="*/ 58 h 149"/>
              <a:gd name="T10" fmla="*/ 58 w 149"/>
              <a:gd name="T11" fmla="*/ 0 h 149"/>
              <a:gd name="T12" fmla="*/ 92 w 149"/>
              <a:gd name="T13" fmla="*/ 0 h 149"/>
              <a:gd name="T14" fmla="*/ 149 w 149"/>
              <a:gd name="T15" fmla="*/ 58 h 149"/>
              <a:gd name="T16" fmla="*/ 149 w 149"/>
              <a:gd name="T17" fmla="*/ 81 h 149"/>
              <a:gd name="T18" fmla="*/ 100 w 149"/>
              <a:gd name="T19" fmla="*/ 147 h 149"/>
              <a:gd name="T20" fmla="*/ 81 w 149"/>
              <a:gd name="T21" fmla="*/ 149 h 149"/>
              <a:gd name="T22" fmla="*/ 58 w 149"/>
              <a:gd name="T23" fmla="*/ 11 h 149"/>
              <a:gd name="T24" fmla="*/ 11 w 149"/>
              <a:gd name="T25" fmla="*/ 58 h 149"/>
              <a:gd name="T26" fmla="*/ 11 w 149"/>
              <a:gd name="T27" fmla="*/ 81 h 149"/>
              <a:gd name="T28" fmla="*/ 53 w 149"/>
              <a:gd name="T29" fmla="*/ 136 h 149"/>
              <a:gd name="T30" fmla="*/ 68 w 149"/>
              <a:gd name="T31" fmla="*/ 138 h 149"/>
              <a:gd name="T32" fmla="*/ 81 w 149"/>
              <a:gd name="T33" fmla="*/ 138 h 149"/>
              <a:gd name="T34" fmla="*/ 97 w 149"/>
              <a:gd name="T35" fmla="*/ 136 h 149"/>
              <a:gd name="T36" fmla="*/ 138 w 149"/>
              <a:gd name="T37" fmla="*/ 81 h 149"/>
              <a:gd name="T38" fmla="*/ 138 w 149"/>
              <a:gd name="T39" fmla="*/ 58 h 149"/>
              <a:gd name="T40" fmla="*/ 92 w 149"/>
              <a:gd name="T41" fmla="*/ 11 h 149"/>
              <a:gd name="T42" fmla="*/ 58 w 149"/>
              <a:gd name="T43" fmla="*/ 11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9" h="149">
                <a:moveTo>
                  <a:pt x="81" y="149"/>
                </a:moveTo>
                <a:cubicBezTo>
                  <a:pt x="68" y="149"/>
                  <a:pt x="68" y="149"/>
                  <a:pt x="68" y="149"/>
                </a:cubicBezTo>
                <a:cubicBezTo>
                  <a:pt x="62" y="149"/>
                  <a:pt x="56" y="148"/>
                  <a:pt x="50" y="147"/>
                </a:cubicBezTo>
                <a:cubicBezTo>
                  <a:pt x="21" y="138"/>
                  <a:pt x="0" y="111"/>
                  <a:pt x="0" y="8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26"/>
                  <a:pt x="26" y="0"/>
                  <a:pt x="58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124" y="0"/>
                  <a:pt x="149" y="26"/>
                  <a:pt x="149" y="58"/>
                </a:cubicBezTo>
                <a:cubicBezTo>
                  <a:pt x="149" y="81"/>
                  <a:pt x="149" y="81"/>
                  <a:pt x="149" y="81"/>
                </a:cubicBezTo>
                <a:cubicBezTo>
                  <a:pt x="149" y="111"/>
                  <a:pt x="129" y="138"/>
                  <a:pt x="100" y="147"/>
                </a:cubicBezTo>
                <a:cubicBezTo>
                  <a:pt x="94" y="148"/>
                  <a:pt x="88" y="149"/>
                  <a:pt x="81" y="149"/>
                </a:cubicBezTo>
                <a:close/>
                <a:moveTo>
                  <a:pt x="58" y="11"/>
                </a:moveTo>
                <a:cubicBezTo>
                  <a:pt x="32" y="11"/>
                  <a:pt x="11" y="32"/>
                  <a:pt x="11" y="58"/>
                </a:cubicBezTo>
                <a:cubicBezTo>
                  <a:pt x="11" y="81"/>
                  <a:pt x="11" y="81"/>
                  <a:pt x="11" y="81"/>
                </a:cubicBezTo>
                <a:cubicBezTo>
                  <a:pt x="11" y="107"/>
                  <a:pt x="28" y="129"/>
                  <a:pt x="53" y="136"/>
                </a:cubicBezTo>
                <a:cubicBezTo>
                  <a:pt x="58" y="138"/>
                  <a:pt x="63" y="138"/>
                  <a:pt x="68" y="138"/>
                </a:cubicBezTo>
                <a:cubicBezTo>
                  <a:pt x="81" y="138"/>
                  <a:pt x="81" y="138"/>
                  <a:pt x="81" y="138"/>
                </a:cubicBezTo>
                <a:cubicBezTo>
                  <a:pt x="87" y="138"/>
                  <a:pt x="92" y="138"/>
                  <a:pt x="97" y="136"/>
                </a:cubicBezTo>
                <a:cubicBezTo>
                  <a:pt x="121" y="129"/>
                  <a:pt x="138" y="107"/>
                  <a:pt x="138" y="81"/>
                </a:cubicBezTo>
                <a:cubicBezTo>
                  <a:pt x="138" y="58"/>
                  <a:pt x="138" y="58"/>
                  <a:pt x="138" y="58"/>
                </a:cubicBezTo>
                <a:cubicBezTo>
                  <a:pt x="138" y="32"/>
                  <a:pt x="118" y="11"/>
                  <a:pt x="92" y="11"/>
                </a:cubicBezTo>
                <a:lnTo>
                  <a:pt x="58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IN" sz="2400" dirty="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8B25AE62-9F91-598D-4A26-829B0B88B4A3}"/>
              </a:ext>
            </a:extLst>
          </p:cNvPr>
          <p:cNvSpPr txBox="1">
            <a:spLocks/>
          </p:cNvSpPr>
          <p:nvPr/>
        </p:nvSpPr>
        <p:spPr>
          <a:xfrm>
            <a:off x="419099" y="1468935"/>
            <a:ext cx="4448630" cy="71724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>
                <a:solidFill>
                  <a:schemeClr val="lt1"/>
                </a:solidFill>
                <a:latin typeface="+mj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endParaRPr lang="en-US" sz="2400" dirty="0">
              <a:latin typeface="+mn-lt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DC3EA08-A71A-A1B3-4D54-8CB2153BF549}"/>
              </a:ext>
            </a:extLst>
          </p:cNvPr>
          <p:cNvSpPr/>
          <p:nvPr/>
        </p:nvSpPr>
        <p:spPr>
          <a:xfrm>
            <a:off x="419099" y="2187127"/>
            <a:ext cx="4448630" cy="366492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1841E2F3-3C5E-F6B4-D02D-ED6215E31820}"/>
              </a:ext>
            </a:extLst>
          </p:cNvPr>
          <p:cNvSpPr/>
          <p:nvPr/>
        </p:nvSpPr>
        <p:spPr>
          <a:xfrm rot="5400000">
            <a:off x="541870" y="2559475"/>
            <a:ext cx="321083" cy="20123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02" name="Shape12_20220427_135811">
            <a:extLst>
              <a:ext uri="{FF2B5EF4-FFF2-40B4-BE49-F238E27FC236}">
                <a16:creationId xmlns:a16="http://schemas.microsoft.com/office/drawing/2014/main" id="{95ACCDB2-8366-0017-BF09-B58FCAC9597E}"/>
              </a:ext>
            </a:extLst>
          </p:cNvPr>
          <p:cNvSpPr txBox="1"/>
          <p:nvPr/>
        </p:nvSpPr>
        <p:spPr>
          <a:xfrm>
            <a:off x="985719" y="2542030"/>
            <a:ext cx="361566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lang="en-IN"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3" name="Shape13_20220427_135811">
            <a:extLst>
              <a:ext uri="{FF2B5EF4-FFF2-40B4-BE49-F238E27FC236}">
                <a16:creationId xmlns:a16="http://schemas.microsoft.com/office/drawing/2014/main" id="{F1630B1F-CB4F-2D42-417A-41EF6125E82D}"/>
              </a:ext>
            </a:extLst>
          </p:cNvPr>
          <p:cNvSpPr txBox="1"/>
          <p:nvPr/>
        </p:nvSpPr>
        <p:spPr>
          <a:xfrm>
            <a:off x="985719" y="2916939"/>
            <a:ext cx="3615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lang="en-IN" sz="14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4" name="Isosceles Triangle 103">
            <a:extLst>
              <a:ext uri="{FF2B5EF4-FFF2-40B4-BE49-F238E27FC236}">
                <a16:creationId xmlns:a16="http://schemas.microsoft.com/office/drawing/2014/main" id="{2FFE2F4C-ED30-F544-05FD-CFDFA55386C6}"/>
              </a:ext>
            </a:extLst>
          </p:cNvPr>
          <p:cNvSpPr/>
          <p:nvPr/>
        </p:nvSpPr>
        <p:spPr>
          <a:xfrm rot="5400000">
            <a:off x="541870" y="3842062"/>
            <a:ext cx="321083" cy="20123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05" name="Shape14_20220427_135811">
            <a:extLst>
              <a:ext uri="{FF2B5EF4-FFF2-40B4-BE49-F238E27FC236}">
                <a16:creationId xmlns:a16="http://schemas.microsoft.com/office/drawing/2014/main" id="{54FDA9C1-545E-7CEF-7A64-8A81AEB4D73E}"/>
              </a:ext>
            </a:extLst>
          </p:cNvPr>
          <p:cNvSpPr txBox="1"/>
          <p:nvPr/>
        </p:nvSpPr>
        <p:spPr>
          <a:xfrm>
            <a:off x="985719" y="3824616"/>
            <a:ext cx="361566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lang="en-IN" sz="1600" b="1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6" name="Shape15_20220427_135811">
            <a:extLst>
              <a:ext uri="{FF2B5EF4-FFF2-40B4-BE49-F238E27FC236}">
                <a16:creationId xmlns:a16="http://schemas.microsoft.com/office/drawing/2014/main" id="{321A6192-BB6B-CDED-649F-3A2DCDF9E5AD}"/>
              </a:ext>
            </a:extLst>
          </p:cNvPr>
          <p:cNvSpPr txBox="1"/>
          <p:nvPr/>
        </p:nvSpPr>
        <p:spPr>
          <a:xfrm>
            <a:off x="985719" y="4199526"/>
            <a:ext cx="3615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lang="en-IN" sz="14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117EE99E-BB37-9AE1-3B22-229A2F4BB5DC}"/>
              </a:ext>
            </a:extLst>
          </p:cNvPr>
          <p:cNvSpPr/>
          <p:nvPr/>
        </p:nvSpPr>
        <p:spPr>
          <a:xfrm rot="5400000">
            <a:off x="541870" y="5124651"/>
            <a:ext cx="321083" cy="20123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08" name="Shape16_20220427_135811">
            <a:extLst>
              <a:ext uri="{FF2B5EF4-FFF2-40B4-BE49-F238E27FC236}">
                <a16:creationId xmlns:a16="http://schemas.microsoft.com/office/drawing/2014/main" id="{FF52CB7B-89B6-2345-A2A6-B3B47C71E55D}"/>
              </a:ext>
            </a:extLst>
          </p:cNvPr>
          <p:cNvSpPr txBox="1"/>
          <p:nvPr/>
        </p:nvSpPr>
        <p:spPr>
          <a:xfrm>
            <a:off x="985719" y="5107205"/>
            <a:ext cx="361566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09" name="Shape17_20220427_135811">
            <a:extLst>
              <a:ext uri="{FF2B5EF4-FFF2-40B4-BE49-F238E27FC236}">
                <a16:creationId xmlns:a16="http://schemas.microsoft.com/office/drawing/2014/main" id="{D12452BB-4A45-D8A2-6E51-463FA9894992}"/>
              </a:ext>
            </a:extLst>
          </p:cNvPr>
          <p:cNvSpPr txBox="1"/>
          <p:nvPr/>
        </p:nvSpPr>
        <p:spPr>
          <a:xfrm>
            <a:off x="985719" y="5482110"/>
            <a:ext cx="3615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  <a:endParaRPr lang="en-IN" sz="14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295F125-F528-5413-9CAE-5B70F2C229B3}"/>
              </a:ext>
            </a:extLst>
          </p:cNvPr>
          <p:cNvCxnSpPr/>
          <p:nvPr/>
        </p:nvCxnSpPr>
        <p:spPr>
          <a:xfrm>
            <a:off x="985719" y="3469710"/>
            <a:ext cx="3615664" cy="0"/>
          </a:xfrm>
          <a:prstGeom prst="line">
            <a:avLst/>
          </a:prstGeom>
          <a:ln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C721B838-562B-7524-B2C9-7D44C06B0D65}"/>
              </a:ext>
            </a:extLst>
          </p:cNvPr>
          <p:cNvCxnSpPr/>
          <p:nvPr/>
        </p:nvCxnSpPr>
        <p:spPr>
          <a:xfrm>
            <a:off x="985719" y="4752299"/>
            <a:ext cx="3615664" cy="0"/>
          </a:xfrm>
          <a:prstGeom prst="line">
            <a:avLst/>
          </a:prstGeom>
          <a:ln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36F5888-C476-45B7-0E08-33CD18A5D083}"/>
              </a:ext>
            </a:extLst>
          </p:cNvPr>
          <p:cNvSpPr/>
          <p:nvPr/>
        </p:nvSpPr>
        <p:spPr>
          <a:xfrm>
            <a:off x="1805044" y="1642892"/>
            <a:ext cx="1676741" cy="36933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bg1"/>
                </a:solidFill>
                <a:ea typeface="ＭＳ Ｐゴシック" pitchFamily="-108" charset="-128"/>
              </a:rPr>
              <a:t>Case Study</a:t>
            </a:r>
            <a:endParaRPr lang="en-IN" sz="2400" b="1" dirty="0">
              <a:solidFill>
                <a:schemeClr val="bg1"/>
              </a:solidFill>
              <a:ea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408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0</TotalTime>
  <Words>42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ＭＳ Ｐゴシック</vt:lpstr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ase Stud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68</cp:revision>
  <dcterms:created xsi:type="dcterms:W3CDTF">2021-03-31T02:49:57Z</dcterms:created>
  <dcterms:modified xsi:type="dcterms:W3CDTF">2025-10-16T10:52:15Z</dcterms:modified>
  <cp:category/>
</cp:coreProperties>
</file>